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707" r:id="rId5"/>
    <p:sldMasterId id="2147483695" r:id="rId6"/>
    <p:sldMasterId id="2147483735" r:id="rId7"/>
    <p:sldMasterId id="2147483745" r:id="rId8"/>
    <p:sldMasterId id="2147483760" r:id="rId9"/>
    <p:sldMasterId id="2147483774" r:id="rId10"/>
  </p:sldMasterIdLst>
  <p:notesMasterIdLst>
    <p:notesMasterId r:id="rId35"/>
  </p:notesMasterIdLst>
  <p:sldIdLst>
    <p:sldId id="2076138031" r:id="rId11"/>
    <p:sldId id="2076138093" r:id="rId12"/>
    <p:sldId id="2076138096" r:id="rId13"/>
    <p:sldId id="2142534054" r:id="rId14"/>
    <p:sldId id="2142534181" r:id="rId15"/>
    <p:sldId id="2142534166" r:id="rId16"/>
    <p:sldId id="2076138114" r:id="rId17"/>
    <p:sldId id="2142534167" r:id="rId18"/>
    <p:sldId id="2142534168" r:id="rId19"/>
    <p:sldId id="257" r:id="rId20"/>
    <p:sldId id="2142534172" r:id="rId21"/>
    <p:sldId id="2142534040" r:id="rId22"/>
    <p:sldId id="2142534017" r:id="rId23"/>
    <p:sldId id="2142534020" r:id="rId24"/>
    <p:sldId id="2076138159" r:id="rId25"/>
    <p:sldId id="266" r:id="rId26"/>
    <p:sldId id="259" r:id="rId27"/>
    <p:sldId id="2142534171" r:id="rId28"/>
    <p:sldId id="2142534169" r:id="rId29"/>
    <p:sldId id="2142534175" r:id="rId30"/>
    <p:sldId id="2142534176" r:id="rId31"/>
    <p:sldId id="2142534177" r:id="rId32"/>
    <p:sldId id="2142534179" r:id="rId33"/>
    <p:sldId id="2142534180" r:id="rId3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h.2 : Contexte et motivation du projet" id="{8D334CCF-EF45-461F-BD6E-E96B805FD143}">
          <p14:sldIdLst>
            <p14:sldId id="2076138031"/>
            <p14:sldId id="2076138093"/>
            <p14:sldId id="2076138096"/>
            <p14:sldId id="2142534054"/>
            <p14:sldId id="2142534181"/>
            <p14:sldId id="2142534166"/>
            <p14:sldId id="2076138114"/>
          </p14:sldIdLst>
        </p14:section>
        <p14:section name="Ch.3: Architecture conceptuelle" id="{9D1F115A-7CAE-4B5D-BC6F-FDC6C65214FA}">
          <p14:sldIdLst>
            <p14:sldId id="2142534167"/>
            <p14:sldId id="2142534168"/>
            <p14:sldId id="257"/>
            <p14:sldId id="2142534172"/>
          </p14:sldIdLst>
        </p14:section>
        <p14:section name="Ch.4: Architecture Logique" id="{17CE3F21-1462-4D86-BC5D-1AFBCA652E74}">
          <p14:sldIdLst>
            <p14:sldId id="2142534040"/>
            <p14:sldId id="2142534017"/>
            <p14:sldId id="2142534020"/>
            <p14:sldId id="2076138159"/>
            <p14:sldId id="266"/>
            <p14:sldId id="259"/>
            <p14:sldId id="2142534171"/>
          </p14:sldIdLst>
        </p14:section>
        <p14:section name="Ch.6 : Architecture technique" id="{5B24483E-4F84-40C3-947A-3EDC3EFC7C71}">
          <p14:sldIdLst>
            <p14:sldId id="2142534169"/>
            <p14:sldId id="2142534175"/>
            <p14:sldId id="2142534176"/>
            <p14:sldId id="2142534177"/>
          </p14:sldIdLst>
        </p14:section>
        <p14:section name="Ch.8 : Modèle de dimensionnement" id="{11EAE208-6BF2-41BF-924B-3DB88CF29A85}">
          <p14:sldIdLst>
            <p14:sldId id="2142534179"/>
          </p14:sldIdLst>
        </p14:section>
        <p14:section name="Ch10. Approche devops" id="{42C29212-DA77-4BAD-8090-F0EA8BEB8ADB}">
          <p14:sldIdLst>
            <p14:sldId id="2142534180"/>
          </p14:sldIdLst>
        </p14:section>
      </p14:sectionLst>
    </p:ext>
    <p:ext uri="{EFAFB233-063F-42B5-8137-9DF3F51BA10A}">
      <p15:sldGuideLst xmlns:p15="http://schemas.microsoft.com/office/powerpoint/2012/main">
        <p15:guide id="2" pos="7355" userDrawn="1">
          <p15:clr>
            <a:srgbClr val="A4A3A4"/>
          </p15:clr>
        </p15:guide>
        <p15:guide id="3" orient="horz" pos="2251" userDrawn="1">
          <p15:clr>
            <a:srgbClr val="A4A3A4"/>
          </p15:clr>
        </p15:guide>
        <p15:guide id="4" pos="23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ffroy, Loic" initials="GL" lastIdx="1" clrIdx="0">
    <p:extLst>
      <p:ext uri="{19B8F6BF-5375-455C-9EA6-DF929625EA0E}">
        <p15:presenceInfo xmlns:p15="http://schemas.microsoft.com/office/powerpoint/2012/main" userId="S::loic.geffroy@capgemini.com::fb779336-7f95-43d2-87ea-f661fb7493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9FD"/>
    <a:srgbClr val="ED6C69"/>
    <a:srgbClr val="F9CECD"/>
    <a:srgbClr val="42142E"/>
    <a:srgbClr val="F6E2E0"/>
    <a:srgbClr val="00B06D"/>
    <a:srgbClr val="00C87A"/>
    <a:srgbClr val="00E2CC"/>
    <a:srgbClr val="00B2A2"/>
    <a:srgbClr val="57CF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79F27A-CDDD-4766-B846-D6A4FD229E78}" v="1" dt="2022-11-02T14:29:08.1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114" d="100"/>
          <a:sy n="114" d="100"/>
        </p:scale>
        <p:origin x="438" y="84"/>
      </p:cViewPr>
      <p:guideLst>
        <p:guide pos="7355"/>
        <p:guide orient="horz" pos="2251"/>
        <p:guide pos="23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HADAB, Amal" userId="9caa7c42-465b-4be4-b66b-eccc70c324a6" providerId="ADAL" clId="{09A22AC5-BCC0-47DF-9A82-EB6659707B85}"/>
    <pc:docChg chg="undo custSel addSld delSld modSld sldOrd modSection">
      <pc:chgData name="GHADAB, Amal" userId="9caa7c42-465b-4be4-b66b-eccc70c324a6" providerId="ADAL" clId="{09A22AC5-BCC0-47DF-9A82-EB6659707B85}" dt="2022-10-18T19:44:27.126" v="1398" actId="47"/>
      <pc:docMkLst>
        <pc:docMk/>
      </pc:docMkLst>
      <pc:sldChg chg="addSp delSp modSp mod">
        <pc:chgData name="GHADAB, Amal" userId="9caa7c42-465b-4be4-b66b-eccc70c324a6" providerId="ADAL" clId="{09A22AC5-BCC0-47DF-9A82-EB6659707B85}" dt="2022-10-11T13:53:22.940" v="353"/>
        <pc:sldMkLst>
          <pc:docMk/>
          <pc:sldMk cId="629800437" sldId="259"/>
        </pc:sldMkLst>
        <pc:spChg chg="add del mod">
          <ac:chgData name="GHADAB, Amal" userId="9caa7c42-465b-4be4-b66b-eccc70c324a6" providerId="ADAL" clId="{09A22AC5-BCC0-47DF-9A82-EB6659707B85}" dt="2022-10-11T13:01:38.188" v="256" actId="478"/>
          <ac:spMkLst>
            <pc:docMk/>
            <pc:sldMk cId="629800437" sldId="259"/>
            <ac:spMk id="3" creationId="{DB1CA61A-ED7D-461B-A353-C447BCF65D5B}"/>
          </ac:spMkLst>
        </pc:spChg>
        <pc:graphicFrameChg chg="mod modGraphic">
          <ac:chgData name="GHADAB, Amal" userId="9caa7c42-465b-4be4-b66b-eccc70c324a6" providerId="ADAL" clId="{09A22AC5-BCC0-47DF-9A82-EB6659707B85}" dt="2022-10-11T13:53:22.940" v="353"/>
          <ac:graphicFrameMkLst>
            <pc:docMk/>
            <pc:sldMk cId="629800437" sldId="259"/>
            <ac:graphicFrameMk id="5" creationId="{5C25EFED-6047-4355-B290-CCDA1C4DC2B6}"/>
          </ac:graphicFrameMkLst>
        </pc:graphicFrameChg>
      </pc:sldChg>
      <pc:sldChg chg="del">
        <pc:chgData name="GHADAB, Amal" userId="9caa7c42-465b-4be4-b66b-eccc70c324a6" providerId="ADAL" clId="{09A22AC5-BCC0-47DF-9A82-EB6659707B85}" dt="2022-10-18T19:44:27.126" v="1398" actId="47"/>
        <pc:sldMkLst>
          <pc:docMk/>
          <pc:sldMk cId="1554178800" sldId="260"/>
        </pc:sldMkLst>
      </pc:sldChg>
      <pc:sldChg chg="addSp modSp del">
        <pc:chgData name="GHADAB, Amal" userId="9caa7c42-465b-4be4-b66b-eccc70c324a6" providerId="ADAL" clId="{09A22AC5-BCC0-47DF-9A82-EB6659707B85}" dt="2022-10-18T19:44:27.126" v="1398" actId="47"/>
        <pc:sldMkLst>
          <pc:docMk/>
          <pc:sldMk cId="2933173115" sldId="261"/>
        </pc:sldMkLst>
        <pc:picChg chg="add mod">
          <ac:chgData name="GHADAB, Amal" userId="9caa7c42-465b-4be4-b66b-eccc70c324a6" providerId="ADAL" clId="{09A22AC5-BCC0-47DF-9A82-EB6659707B85}" dt="2022-10-10T13:34:46.453" v="1"/>
          <ac:picMkLst>
            <pc:docMk/>
            <pc:sldMk cId="2933173115" sldId="261"/>
            <ac:picMk id="4" creationId="{6971F6E7-B98F-4881-9C93-FB5FC6402A5C}"/>
          </ac:picMkLst>
        </pc:picChg>
      </pc:sldChg>
      <pc:sldChg chg="add">
        <pc:chgData name="GHADAB, Amal" userId="9caa7c42-465b-4be4-b66b-eccc70c324a6" providerId="ADAL" clId="{09A22AC5-BCC0-47DF-9A82-EB6659707B85}" dt="2022-10-11T12:28:26.287" v="10"/>
        <pc:sldMkLst>
          <pc:docMk/>
          <pc:sldMk cId="1183967270" sldId="266"/>
        </pc:sldMkLst>
      </pc:sldChg>
      <pc:sldChg chg="addSp delSp modSp new mod ord setBg">
        <pc:chgData name="GHADAB, Amal" userId="9caa7c42-465b-4be4-b66b-eccc70c324a6" providerId="ADAL" clId="{09A22AC5-BCC0-47DF-9A82-EB6659707B85}" dt="2022-10-10T13:35:27.310" v="9" actId="20578"/>
        <pc:sldMkLst>
          <pc:docMk/>
          <pc:sldMk cId="70164273" sldId="2142534169"/>
        </pc:sldMkLst>
        <pc:spChg chg="del mod">
          <ac:chgData name="GHADAB, Amal" userId="9caa7c42-465b-4be4-b66b-eccc70c324a6" providerId="ADAL" clId="{09A22AC5-BCC0-47DF-9A82-EB6659707B85}" dt="2022-10-10T13:35:12.709" v="6" actId="478"/>
          <ac:spMkLst>
            <pc:docMk/>
            <pc:sldMk cId="70164273" sldId="2142534169"/>
            <ac:spMk id="2" creationId="{59C85E4D-6A36-4815-B732-B354A0C2E387}"/>
          </ac:spMkLst>
        </pc:spChg>
        <pc:spChg chg="del">
          <ac:chgData name="GHADAB, Amal" userId="9caa7c42-465b-4be4-b66b-eccc70c324a6" providerId="ADAL" clId="{09A22AC5-BCC0-47DF-9A82-EB6659707B85}" dt="2022-10-10T13:35:03.435" v="3" actId="478"/>
          <ac:spMkLst>
            <pc:docMk/>
            <pc:sldMk cId="70164273" sldId="2142534169"/>
            <ac:spMk id="3" creationId="{79E2F99C-C3C2-46EF-8D21-9466C13DC08B}"/>
          </ac:spMkLst>
        </pc:spChg>
        <pc:picChg chg="add mod">
          <ac:chgData name="GHADAB, Amal" userId="9caa7c42-465b-4be4-b66b-eccc70c324a6" providerId="ADAL" clId="{09A22AC5-BCC0-47DF-9A82-EB6659707B85}" dt="2022-10-10T13:35:18.164" v="8" actId="14100"/>
          <ac:picMkLst>
            <pc:docMk/>
            <pc:sldMk cId="70164273" sldId="2142534169"/>
            <ac:picMk id="4" creationId="{9BAE5A01-AC14-40AF-8D83-31B2FE240AFF}"/>
          </ac:picMkLst>
        </pc:picChg>
      </pc:sldChg>
      <pc:sldChg chg="modSp add del mod">
        <pc:chgData name="GHADAB, Amal" userId="9caa7c42-465b-4be4-b66b-eccc70c324a6" providerId="ADAL" clId="{09A22AC5-BCC0-47DF-9A82-EB6659707B85}" dt="2022-10-18T19:44:27.126" v="1398" actId="47"/>
        <pc:sldMkLst>
          <pc:docMk/>
          <pc:sldMk cId="3575344224" sldId="2142534170"/>
        </pc:sldMkLst>
        <pc:graphicFrameChg chg="modGraphic">
          <ac:chgData name="GHADAB, Amal" userId="9caa7c42-465b-4be4-b66b-eccc70c324a6" providerId="ADAL" clId="{09A22AC5-BCC0-47DF-9A82-EB6659707B85}" dt="2022-10-11T12:46:54.798" v="54" actId="313"/>
          <ac:graphicFrameMkLst>
            <pc:docMk/>
            <pc:sldMk cId="3575344224" sldId="2142534170"/>
            <ac:graphicFrameMk id="5" creationId="{5C25EFED-6047-4355-B290-CCDA1C4DC2B6}"/>
          </ac:graphicFrameMkLst>
        </pc:graphicFrameChg>
      </pc:sldChg>
      <pc:sldChg chg="modSp add mod">
        <pc:chgData name="GHADAB, Amal" userId="9caa7c42-465b-4be4-b66b-eccc70c324a6" providerId="ADAL" clId="{09A22AC5-BCC0-47DF-9A82-EB6659707B85}" dt="2022-10-11T15:24:43.744" v="728" actId="20577"/>
        <pc:sldMkLst>
          <pc:docMk/>
          <pc:sldMk cId="870072165" sldId="2142534171"/>
        </pc:sldMkLst>
        <pc:graphicFrameChg chg="mod modGraphic">
          <ac:chgData name="GHADAB, Amal" userId="9caa7c42-465b-4be4-b66b-eccc70c324a6" providerId="ADAL" clId="{09A22AC5-BCC0-47DF-9A82-EB6659707B85}" dt="2022-10-11T15:24:43.744" v="728" actId="20577"/>
          <ac:graphicFrameMkLst>
            <pc:docMk/>
            <pc:sldMk cId="870072165" sldId="2142534171"/>
            <ac:graphicFrameMk id="5" creationId="{5C25EFED-6047-4355-B290-CCDA1C4DC2B6}"/>
          </ac:graphicFrameMkLst>
        </pc:graphicFrameChg>
      </pc:sldChg>
      <pc:sldChg chg="addSp delSp modSp new mod">
        <pc:chgData name="GHADAB, Amal" userId="9caa7c42-465b-4be4-b66b-eccc70c324a6" providerId="ADAL" clId="{09A22AC5-BCC0-47DF-9A82-EB6659707B85}" dt="2022-10-12T12:30:40.364" v="740" actId="20577"/>
        <pc:sldMkLst>
          <pc:docMk/>
          <pc:sldMk cId="2524774995" sldId="2142534172"/>
        </pc:sldMkLst>
        <pc:spChg chg="del">
          <ac:chgData name="GHADAB, Amal" userId="9caa7c42-465b-4be4-b66b-eccc70c324a6" providerId="ADAL" clId="{09A22AC5-BCC0-47DF-9A82-EB6659707B85}" dt="2022-10-12T12:30:07.579" v="731" actId="478"/>
          <ac:spMkLst>
            <pc:docMk/>
            <pc:sldMk cId="2524774995" sldId="2142534172"/>
            <ac:spMk id="2" creationId="{4BA976C4-EBB2-4013-96CE-6CDA9A566687}"/>
          </ac:spMkLst>
        </pc:spChg>
        <pc:spChg chg="del">
          <ac:chgData name="GHADAB, Amal" userId="9caa7c42-465b-4be4-b66b-eccc70c324a6" providerId="ADAL" clId="{09A22AC5-BCC0-47DF-9A82-EB6659707B85}" dt="2022-10-12T12:30:03.659" v="730" actId="478"/>
          <ac:spMkLst>
            <pc:docMk/>
            <pc:sldMk cId="2524774995" sldId="2142534172"/>
            <ac:spMk id="3" creationId="{456022FB-86CD-4810-921E-267C9A633C4E}"/>
          </ac:spMkLst>
        </pc:spChg>
        <pc:spChg chg="add del">
          <ac:chgData name="GHADAB, Amal" userId="9caa7c42-465b-4be4-b66b-eccc70c324a6" providerId="ADAL" clId="{09A22AC5-BCC0-47DF-9A82-EB6659707B85}" dt="2022-10-12T12:30:33.150" v="735" actId="22"/>
          <ac:spMkLst>
            <pc:docMk/>
            <pc:sldMk cId="2524774995" sldId="2142534172"/>
            <ac:spMk id="7" creationId="{19816A89-B5A3-4D7A-911E-47BB836B1888}"/>
          </ac:spMkLst>
        </pc:spChg>
        <pc:spChg chg="add mod">
          <ac:chgData name="GHADAB, Amal" userId="9caa7c42-465b-4be4-b66b-eccc70c324a6" providerId="ADAL" clId="{09A22AC5-BCC0-47DF-9A82-EB6659707B85}" dt="2022-10-12T12:30:40.364" v="740" actId="20577"/>
          <ac:spMkLst>
            <pc:docMk/>
            <pc:sldMk cId="2524774995" sldId="2142534172"/>
            <ac:spMk id="9" creationId="{4894C626-64B5-44A0-A1AD-1F4C539EE839}"/>
          </ac:spMkLst>
        </pc:spChg>
        <pc:picChg chg="add mod">
          <ac:chgData name="GHADAB, Amal" userId="9caa7c42-465b-4be4-b66b-eccc70c324a6" providerId="ADAL" clId="{09A22AC5-BCC0-47DF-9A82-EB6659707B85}" dt="2022-10-12T12:30:21.917" v="733" actId="1076"/>
          <ac:picMkLst>
            <pc:docMk/>
            <pc:sldMk cId="2524774995" sldId="2142534172"/>
            <ac:picMk id="5" creationId="{40ADDBD1-81E2-4102-BFF3-E2F5D5151B85}"/>
          </ac:picMkLst>
        </pc:picChg>
      </pc:sldChg>
      <pc:sldChg chg="modSp add del mod">
        <pc:chgData name="GHADAB, Amal" userId="9caa7c42-465b-4be4-b66b-eccc70c324a6" providerId="ADAL" clId="{09A22AC5-BCC0-47DF-9A82-EB6659707B85}" dt="2022-10-12T12:56:24.898" v="747" actId="47"/>
        <pc:sldMkLst>
          <pc:docMk/>
          <pc:sldMk cId="1075329141" sldId="2142534173"/>
        </pc:sldMkLst>
        <pc:picChg chg="mod">
          <ac:chgData name="GHADAB, Amal" userId="9caa7c42-465b-4be4-b66b-eccc70c324a6" providerId="ADAL" clId="{09A22AC5-BCC0-47DF-9A82-EB6659707B85}" dt="2022-10-12T12:55:39.138" v="742" actId="1076"/>
          <ac:picMkLst>
            <pc:docMk/>
            <pc:sldMk cId="1075329141" sldId="2142534173"/>
            <ac:picMk id="4" creationId="{9BAE5A01-AC14-40AF-8D83-31B2FE240AFF}"/>
          </ac:picMkLst>
        </pc:picChg>
      </pc:sldChg>
      <pc:sldChg chg="new del">
        <pc:chgData name="GHADAB, Amal" userId="9caa7c42-465b-4be4-b66b-eccc70c324a6" providerId="ADAL" clId="{09A22AC5-BCC0-47DF-9A82-EB6659707B85}" dt="2022-10-13T11:20:14.751" v="825" actId="47"/>
        <pc:sldMkLst>
          <pc:docMk/>
          <pc:sldMk cId="1412514504" sldId="2142534174"/>
        </pc:sldMkLst>
      </pc:sldChg>
      <pc:sldChg chg="addSp delSp modSp add mod ord">
        <pc:chgData name="GHADAB, Amal" userId="9caa7c42-465b-4be4-b66b-eccc70c324a6" providerId="ADAL" clId="{09A22AC5-BCC0-47DF-9A82-EB6659707B85}" dt="2022-10-18T17:53:16.765" v="1368" actId="20577"/>
        <pc:sldMkLst>
          <pc:docMk/>
          <pc:sldMk cId="3608061277" sldId="2142534175"/>
        </pc:sldMkLst>
        <pc:spChg chg="mod">
          <ac:chgData name="GHADAB, Amal" userId="9caa7c42-465b-4be4-b66b-eccc70c324a6" providerId="ADAL" clId="{09A22AC5-BCC0-47DF-9A82-EB6659707B85}" dt="2022-10-18T17:53:16.765" v="1368" actId="20577"/>
          <ac:spMkLst>
            <pc:docMk/>
            <pc:sldMk cId="3608061277" sldId="2142534175"/>
            <ac:spMk id="3" creationId="{0311D821-AEF7-4002-8E2E-12C7B9240BF3}"/>
          </ac:spMkLst>
        </pc:spChg>
        <pc:spChg chg="mod">
          <ac:chgData name="GHADAB, Amal" userId="9caa7c42-465b-4be4-b66b-eccc70c324a6" providerId="ADAL" clId="{09A22AC5-BCC0-47DF-9A82-EB6659707B85}" dt="2022-10-18T12:23:56.035" v="1230" actId="1076"/>
          <ac:spMkLst>
            <pc:docMk/>
            <pc:sldMk cId="3608061277" sldId="2142534175"/>
            <ac:spMk id="5" creationId="{88F56083-18B5-4FAE-8F91-65512E01C5AA}"/>
          </ac:spMkLst>
        </pc:spChg>
        <pc:spChg chg="mod">
          <ac:chgData name="GHADAB, Amal" userId="9caa7c42-465b-4be4-b66b-eccc70c324a6" providerId="ADAL" clId="{09A22AC5-BCC0-47DF-9A82-EB6659707B85}" dt="2022-10-18T07:32:47.321" v="1093" actId="1035"/>
          <ac:spMkLst>
            <pc:docMk/>
            <pc:sldMk cId="3608061277" sldId="2142534175"/>
            <ac:spMk id="6" creationId="{8F953511-2D56-46DF-A285-C14ACEB8AD96}"/>
          </ac:spMkLst>
        </pc:spChg>
        <pc:spChg chg="mod">
          <ac:chgData name="GHADAB, Amal" userId="9caa7c42-465b-4be4-b66b-eccc70c324a6" providerId="ADAL" clId="{09A22AC5-BCC0-47DF-9A82-EB6659707B85}" dt="2022-10-18T12:24:00.651" v="1231" actId="1076"/>
          <ac:spMkLst>
            <pc:docMk/>
            <pc:sldMk cId="3608061277" sldId="2142534175"/>
            <ac:spMk id="12" creationId="{F82D1158-108E-4F51-B874-D61470E35152}"/>
          </ac:spMkLst>
        </pc:spChg>
        <pc:spChg chg="mod">
          <ac:chgData name="GHADAB, Amal" userId="9caa7c42-465b-4be4-b66b-eccc70c324a6" providerId="ADAL" clId="{09A22AC5-BCC0-47DF-9A82-EB6659707B85}" dt="2022-10-18T12:24:14.564" v="1244" actId="14100"/>
          <ac:spMkLst>
            <pc:docMk/>
            <pc:sldMk cId="3608061277" sldId="2142534175"/>
            <ac:spMk id="15" creationId="{0D0548BF-F5E4-4264-82A2-B78F0E6E2772}"/>
          </ac:spMkLst>
        </pc:spChg>
        <pc:spChg chg="add mod">
          <ac:chgData name="GHADAB, Amal" userId="9caa7c42-465b-4be4-b66b-eccc70c324a6" providerId="ADAL" clId="{09A22AC5-BCC0-47DF-9A82-EB6659707B85}" dt="2022-10-18T12:26:45.961" v="1274" actId="14100"/>
          <ac:spMkLst>
            <pc:docMk/>
            <pc:sldMk cId="3608061277" sldId="2142534175"/>
            <ac:spMk id="23" creationId="{5505C02E-E71C-4EA8-B6D7-212C9F3F5894}"/>
          </ac:spMkLst>
        </pc:spChg>
        <pc:spChg chg="add del mod">
          <ac:chgData name="GHADAB, Amal" userId="9caa7c42-465b-4be4-b66b-eccc70c324a6" providerId="ADAL" clId="{09A22AC5-BCC0-47DF-9A82-EB6659707B85}" dt="2022-10-18T07:33:43.819" v="1102" actId="21"/>
          <ac:spMkLst>
            <pc:docMk/>
            <pc:sldMk cId="3608061277" sldId="2142534175"/>
            <ac:spMk id="28" creationId="{07BF4D18-FC4F-421F-858C-549C6B30ED26}"/>
          </ac:spMkLst>
        </pc:spChg>
        <pc:spChg chg="add del mod">
          <ac:chgData name="GHADAB, Amal" userId="9caa7c42-465b-4be4-b66b-eccc70c324a6" providerId="ADAL" clId="{09A22AC5-BCC0-47DF-9A82-EB6659707B85}" dt="2022-10-18T07:33:43.819" v="1102" actId="21"/>
          <ac:spMkLst>
            <pc:docMk/>
            <pc:sldMk cId="3608061277" sldId="2142534175"/>
            <ac:spMk id="29" creationId="{A428C654-8F9E-47FD-8B22-44EF18705D56}"/>
          </ac:spMkLst>
        </pc:spChg>
        <pc:spChg chg="mod">
          <ac:chgData name="GHADAB, Amal" userId="9caa7c42-465b-4be4-b66b-eccc70c324a6" providerId="ADAL" clId="{09A22AC5-BCC0-47DF-9A82-EB6659707B85}" dt="2022-10-18T07:32:39.570" v="1063" actId="1076"/>
          <ac:spMkLst>
            <pc:docMk/>
            <pc:sldMk cId="3608061277" sldId="2142534175"/>
            <ac:spMk id="30" creationId="{99A33903-A591-4E8D-ACE0-8F2DB0155DFF}"/>
          </ac:spMkLst>
        </pc:spChg>
        <pc:spChg chg="add mod">
          <ac:chgData name="GHADAB, Amal" userId="9caa7c42-465b-4be4-b66b-eccc70c324a6" providerId="ADAL" clId="{09A22AC5-BCC0-47DF-9A82-EB6659707B85}" dt="2022-10-18T12:26:29.294" v="1266" actId="1076"/>
          <ac:spMkLst>
            <pc:docMk/>
            <pc:sldMk cId="3608061277" sldId="2142534175"/>
            <ac:spMk id="35" creationId="{A46D665C-5B40-4C08-B7CE-8D721DFC42B9}"/>
          </ac:spMkLst>
        </pc:spChg>
        <pc:spChg chg="add mod">
          <ac:chgData name="GHADAB, Amal" userId="9caa7c42-465b-4be4-b66b-eccc70c324a6" providerId="ADAL" clId="{09A22AC5-BCC0-47DF-9A82-EB6659707B85}" dt="2022-10-18T12:26:37.718" v="1272" actId="1035"/>
          <ac:spMkLst>
            <pc:docMk/>
            <pc:sldMk cId="3608061277" sldId="2142534175"/>
            <ac:spMk id="47" creationId="{80FE28FF-7067-4AD9-92D1-4E89801DB388}"/>
          </ac:spMkLst>
        </pc:spChg>
        <pc:spChg chg="add mod">
          <ac:chgData name="GHADAB, Amal" userId="9caa7c42-465b-4be4-b66b-eccc70c324a6" providerId="ADAL" clId="{09A22AC5-BCC0-47DF-9A82-EB6659707B85}" dt="2022-10-18T12:24:17.621" v="1245" actId="1076"/>
          <ac:spMkLst>
            <pc:docMk/>
            <pc:sldMk cId="3608061277" sldId="2142534175"/>
            <ac:spMk id="48" creationId="{8B05F753-71C9-48E2-8CD7-9AFBA5CB23FD}"/>
          </ac:spMkLst>
        </pc:spChg>
        <pc:spChg chg="add mod">
          <ac:chgData name="GHADAB, Amal" userId="9caa7c42-465b-4be4-b66b-eccc70c324a6" providerId="ADAL" clId="{09A22AC5-BCC0-47DF-9A82-EB6659707B85}" dt="2022-10-18T12:26:37.718" v="1272" actId="1035"/>
          <ac:spMkLst>
            <pc:docMk/>
            <pc:sldMk cId="3608061277" sldId="2142534175"/>
            <ac:spMk id="49" creationId="{9D22F6C9-2CB4-4E5B-B29D-97C925B7E321}"/>
          </ac:spMkLst>
        </pc:spChg>
        <pc:spChg chg="add mod">
          <ac:chgData name="GHADAB, Amal" userId="9caa7c42-465b-4be4-b66b-eccc70c324a6" providerId="ADAL" clId="{09A22AC5-BCC0-47DF-9A82-EB6659707B85}" dt="2022-10-18T12:26:37.718" v="1272" actId="1035"/>
          <ac:spMkLst>
            <pc:docMk/>
            <pc:sldMk cId="3608061277" sldId="2142534175"/>
            <ac:spMk id="50" creationId="{5A30FEB5-24DE-4E67-96DE-B16AB8D7DE6E}"/>
          </ac:spMkLst>
        </pc:spChg>
        <pc:spChg chg="mod">
          <ac:chgData name="GHADAB, Amal" userId="9caa7c42-465b-4be4-b66b-eccc70c324a6" providerId="ADAL" clId="{09A22AC5-BCC0-47DF-9A82-EB6659707B85}" dt="2022-10-18T07:32:47.321" v="1093" actId="1035"/>
          <ac:spMkLst>
            <pc:docMk/>
            <pc:sldMk cId="3608061277" sldId="2142534175"/>
            <ac:spMk id="53" creationId="{B14062CF-AD55-46BD-B118-D12045B040AD}"/>
          </ac:spMkLst>
        </pc:spChg>
        <pc:spChg chg="mod">
          <ac:chgData name="GHADAB, Amal" userId="9caa7c42-465b-4be4-b66b-eccc70c324a6" providerId="ADAL" clId="{09A22AC5-BCC0-47DF-9A82-EB6659707B85}" dt="2022-10-18T07:32:47.321" v="1093" actId="1035"/>
          <ac:spMkLst>
            <pc:docMk/>
            <pc:sldMk cId="3608061277" sldId="2142534175"/>
            <ac:spMk id="54" creationId="{9CAE739B-3DD0-4C75-92ED-6E5ECF4028AC}"/>
          </ac:spMkLst>
        </pc:spChg>
        <pc:spChg chg="del">
          <ac:chgData name="GHADAB, Amal" userId="9caa7c42-465b-4be4-b66b-eccc70c324a6" providerId="ADAL" clId="{09A22AC5-BCC0-47DF-9A82-EB6659707B85}" dt="2022-10-13T11:24:09.344" v="848" actId="478"/>
          <ac:spMkLst>
            <pc:docMk/>
            <pc:sldMk cId="3608061277" sldId="2142534175"/>
            <ac:spMk id="55" creationId="{E36F4F75-315A-42EB-9529-6FD8996B1897}"/>
          </ac:spMkLst>
        </pc:spChg>
        <pc:spChg chg="mod">
          <ac:chgData name="GHADAB, Amal" userId="9caa7c42-465b-4be4-b66b-eccc70c324a6" providerId="ADAL" clId="{09A22AC5-BCC0-47DF-9A82-EB6659707B85}" dt="2022-10-18T07:32:47.321" v="1093" actId="1035"/>
          <ac:spMkLst>
            <pc:docMk/>
            <pc:sldMk cId="3608061277" sldId="2142534175"/>
            <ac:spMk id="56" creationId="{327D7EE2-A2F6-40F5-8135-9C2910B27D62}"/>
          </ac:spMkLst>
        </pc:spChg>
        <pc:spChg chg="mod">
          <ac:chgData name="GHADAB, Amal" userId="9caa7c42-465b-4be4-b66b-eccc70c324a6" providerId="ADAL" clId="{09A22AC5-BCC0-47DF-9A82-EB6659707B85}" dt="2022-10-18T07:32:47.321" v="1093" actId="1035"/>
          <ac:spMkLst>
            <pc:docMk/>
            <pc:sldMk cId="3608061277" sldId="2142534175"/>
            <ac:spMk id="57" creationId="{DAF5B812-B39C-414E-95D8-FED75322E3F9}"/>
          </ac:spMkLst>
        </pc:spChg>
        <pc:spChg chg="mod">
          <ac:chgData name="GHADAB, Amal" userId="9caa7c42-465b-4be4-b66b-eccc70c324a6" providerId="ADAL" clId="{09A22AC5-BCC0-47DF-9A82-EB6659707B85}" dt="2022-10-18T07:32:47.321" v="1093" actId="1035"/>
          <ac:spMkLst>
            <pc:docMk/>
            <pc:sldMk cId="3608061277" sldId="2142534175"/>
            <ac:spMk id="58" creationId="{8147E533-98E5-437F-8F6A-08BB8F0EA1C2}"/>
          </ac:spMkLst>
        </pc:spChg>
        <pc:spChg chg="mod">
          <ac:chgData name="GHADAB, Amal" userId="9caa7c42-465b-4be4-b66b-eccc70c324a6" providerId="ADAL" clId="{09A22AC5-BCC0-47DF-9A82-EB6659707B85}" dt="2022-10-18T07:32:47.321" v="1093" actId="1035"/>
          <ac:spMkLst>
            <pc:docMk/>
            <pc:sldMk cId="3608061277" sldId="2142534175"/>
            <ac:spMk id="59" creationId="{887EA733-F3AD-49FC-B6B2-2CC7EF60BA25}"/>
          </ac:spMkLst>
        </pc:spChg>
        <pc:spChg chg="mod ord">
          <ac:chgData name="GHADAB, Amal" userId="9caa7c42-465b-4be4-b66b-eccc70c324a6" providerId="ADAL" clId="{09A22AC5-BCC0-47DF-9A82-EB6659707B85}" dt="2022-10-18T12:26:11.116" v="1264" actId="1076"/>
          <ac:spMkLst>
            <pc:docMk/>
            <pc:sldMk cId="3608061277" sldId="2142534175"/>
            <ac:spMk id="60" creationId="{F06A523A-8D85-4245-AF9B-8B5909BE2796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67" creationId="{AA34A9F9-DED5-498B-B6FC-76B0E2ECDEB7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69" creationId="{932959CB-CBA0-41B6-9965-0DA47759E621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70" creationId="{7CE24321-5AB0-412B-9419-FD54B8E6EDD7}"/>
          </ac:spMkLst>
        </pc:spChg>
        <pc:spChg chg="del">
          <ac:chgData name="GHADAB, Amal" userId="9caa7c42-465b-4be4-b66b-eccc70c324a6" providerId="ADAL" clId="{09A22AC5-BCC0-47DF-9A82-EB6659707B85}" dt="2022-10-13T11:24:09.344" v="848" actId="478"/>
          <ac:spMkLst>
            <pc:docMk/>
            <pc:sldMk cId="3608061277" sldId="2142534175"/>
            <ac:spMk id="77" creationId="{1EB2CCD6-EAA5-4EDD-8F0D-EB60D6C4D49D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78" creationId="{3C425C28-BEA8-499E-977A-48EADAC53B50}"/>
          </ac:spMkLst>
        </pc:spChg>
        <pc:spChg chg="del">
          <ac:chgData name="GHADAB, Amal" userId="9caa7c42-465b-4be4-b66b-eccc70c324a6" providerId="ADAL" clId="{09A22AC5-BCC0-47DF-9A82-EB6659707B85}" dt="2022-10-13T11:24:09.344" v="848" actId="478"/>
          <ac:spMkLst>
            <pc:docMk/>
            <pc:sldMk cId="3608061277" sldId="2142534175"/>
            <ac:spMk id="79" creationId="{B1D52A31-34F3-40CE-8F4B-EFE019887B7A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80" creationId="{A71CFD41-EFB3-4543-9D62-166D62D9E6A2}"/>
          </ac:spMkLst>
        </pc:spChg>
        <pc:spChg chg="del">
          <ac:chgData name="GHADAB, Amal" userId="9caa7c42-465b-4be4-b66b-eccc70c324a6" providerId="ADAL" clId="{09A22AC5-BCC0-47DF-9A82-EB6659707B85}" dt="2022-10-13T11:24:09.344" v="848" actId="478"/>
          <ac:spMkLst>
            <pc:docMk/>
            <pc:sldMk cId="3608061277" sldId="2142534175"/>
            <ac:spMk id="81" creationId="{3078DC91-4FCA-40F7-9347-9B2F152EF584}"/>
          </ac:spMkLst>
        </pc:spChg>
        <pc:spChg chg="add del mod">
          <ac:chgData name="GHADAB, Amal" userId="9caa7c42-465b-4be4-b66b-eccc70c324a6" providerId="ADAL" clId="{09A22AC5-BCC0-47DF-9A82-EB6659707B85}" dt="2022-10-18T12:26:24.218" v="1265" actId="1076"/>
          <ac:spMkLst>
            <pc:docMk/>
            <pc:sldMk cId="3608061277" sldId="2142534175"/>
            <ac:spMk id="82" creationId="{C5092E28-5200-4575-BA5C-1EA9F1DB4B99}"/>
          </ac:spMkLst>
        </pc:spChg>
        <pc:spChg chg="add del">
          <ac:chgData name="GHADAB, Amal" userId="9caa7c42-465b-4be4-b66b-eccc70c324a6" providerId="ADAL" clId="{09A22AC5-BCC0-47DF-9A82-EB6659707B85}" dt="2022-10-13T11:24:30.289" v="853" actId="478"/>
          <ac:spMkLst>
            <pc:docMk/>
            <pc:sldMk cId="3608061277" sldId="2142534175"/>
            <ac:spMk id="84" creationId="{93E17C0B-939E-4D6A-8B89-71C36DA81E9E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85" creationId="{DE33CE7D-E650-4BF2-99E3-BC56C0D4C242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86" creationId="{C733B579-185E-4248-A26B-12B24F56B852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87" creationId="{655334E7-EE87-4C0C-A64C-3880296AF1DB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88" creationId="{4B9259F5-7E96-4481-9B9A-65217FFF4FFD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90" creationId="{CC62DF62-358F-45E3-884C-AAEE16D7C6B5}"/>
          </ac:spMkLst>
        </pc:spChg>
        <pc:spChg chg="add del mod">
          <ac:chgData name="GHADAB, Amal" userId="9caa7c42-465b-4be4-b66b-eccc70c324a6" providerId="ADAL" clId="{09A22AC5-BCC0-47DF-9A82-EB6659707B85}" dt="2022-10-18T17:52:58.719" v="1350"/>
          <ac:spMkLst>
            <pc:docMk/>
            <pc:sldMk cId="3608061277" sldId="2142534175"/>
            <ac:spMk id="91" creationId="{0E7DC7BB-3027-4066-AA42-17C067968394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91" creationId="{4FB12325-4327-4831-8C85-06E767C9B6B1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92" creationId="{E9C1C26B-7C53-402C-8C17-CA9CA75A0EF3}"/>
          </ac:spMkLst>
        </pc:spChg>
        <pc:spChg chg="add del mod">
          <ac:chgData name="GHADAB, Amal" userId="9caa7c42-465b-4be4-b66b-eccc70c324a6" providerId="ADAL" clId="{09A22AC5-BCC0-47DF-9A82-EB6659707B85}" dt="2022-10-18T17:52:58.719" v="1350"/>
          <ac:spMkLst>
            <pc:docMk/>
            <pc:sldMk cId="3608061277" sldId="2142534175"/>
            <ac:spMk id="93" creationId="{77A929CD-6AC7-463F-8716-8AF373BAF31C}"/>
          </ac:spMkLst>
        </pc:spChg>
        <pc:spChg chg="del">
          <ac:chgData name="GHADAB, Amal" userId="9caa7c42-465b-4be4-b66b-eccc70c324a6" providerId="ADAL" clId="{09A22AC5-BCC0-47DF-9A82-EB6659707B85}" dt="2022-10-12T13:46:37.427" v="822" actId="478"/>
          <ac:spMkLst>
            <pc:docMk/>
            <pc:sldMk cId="3608061277" sldId="2142534175"/>
            <ac:spMk id="93" creationId="{EAA50ECF-C31A-4585-95A5-EE16F0834365}"/>
          </ac:spMkLst>
        </pc:spChg>
        <pc:spChg chg="del">
          <ac:chgData name="GHADAB, Amal" userId="9caa7c42-465b-4be4-b66b-eccc70c324a6" providerId="ADAL" clId="{09A22AC5-BCC0-47DF-9A82-EB6659707B85}" dt="2022-10-12T12:56:32.182" v="748" actId="478"/>
          <ac:spMkLst>
            <pc:docMk/>
            <pc:sldMk cId="3608061277" sldId="2142534175"/>
            <ac:spMk id="94" creationId="{2B7EBA2D-1195-4FED-967C-2C2FB950E554}"/>
          </ac:spMkLst>
        </pc:spChg>
        <pc:spChg chg="add mod">
          <ac:chgData name="GHADAB, Amal" userId="9caa7c42-465b-4be4-b66b-eccc70c324a6" providerId="ADAL" clId="{09A22AC5-BCC0-47DF-9A82-EB6659707B85}" dt="2022-10-18T17:53:01.804" v="1353"/>
          <ac:spMkLst>
            <pc:docMk/>
            <pc:sldMk cId="3608061277" sldId="2142534175"/>
            <ac:spMk id="95" creationId="{530C508D-E3A2-4473-8304-384765F94E7E}"/>
          </ac:spMkLst>
        </pc:spChg>
        <pc:spChg chg="add del">
          <ac:chgData name="GHADAB, Amal" userId="9caa7c42-465b-4be4-b66b-eccc70c324a6" providerId="ADAL" clId="{09A22AC5-BCC0-47DF-9A82-EB6659707B85}" dt="2022-10-13T11:24:30.289" v="853" actId="478"/>
          <ac:spMkLst>
            <pc:docMk/>
            <pc:sldMk cId="3608061277" sldId="2142534175"/>
            <ac:spMk id="96" creationId="{7DB43A8F-6FD8-4E4C-949E-10BD3EA05B99}"/>
          </ac:spMkLst>
        </pc:spChg>
        <pc:spChg chg="mod">
          <ac:chgData name="GHADAB, Amal" userId="9caa7c42-465b-4be4-b66b-eccc70c324a6" providerId="ADAL" clId="{09A22AC5-BCC0-47DF-9A82-EB6659707B85}" dt="2022-10-18T12:24:56.830" v="1252" actId="1076"/>
          <ac:spMkLst>
            <pc:docMk/>
            <pc:sldMk cId="3608061277" sldId="2142534175"/>
            <ac:spMk id="97" creationId="{AB9F556D-B3BC-4D3E-AAFE-88F6C08F9232}"/>
          </ac:spMkLst>
        </pc:spChg>
        <pc:spChg chg="del mod">
          <ac:chgData name="GHADAB, Amal" userId="9caa7c42-465b-4be4-b66b-eccc70c324a6" providerId="ADAL" clId="{09A22AC5-BCC0-47DF-9A82-EB6659707B85}" dt="2022-10-18T17:53:01.322" v="1352" actId="478"/>
          <ac:spMkLst>
            <pc:docMk/>
            <pc:sldMk cId="3608061277" sldId="2142534175"/>
            <ac:spMk id="98" creationId="{C21C4A84-5D2F-4A05-A257-995E275951CB}"/>
          </ac:spMkLst>
        </pc:spChg>
        <pc:spChg chg="add mod">
          <ac:chgData name="GHADAB, Amal" userId="9caa7c42-465b-4be4-b66b-eccc70c324a6" providerId="ADAL" clId="{09A22AC5-BCC0-47DF-9A82-EB6659707B85}" dt="2022-10-18T17:53:01.804" v="1353"/>
          <ac:spMkLst>
            <pc:docMk/>
            <pc:sldMk cId="3608061277" sldId="2142534175"/>
            <ac:spMk id="99" creationId="{1EC704F2-16FC-499C-8911-218DF7650535}"/>
          </ac:spMkLst>
        </pc:spChg>
        <pc:spChg chg="add del">
          <ac:chgData name="GHADAB, Amal" userId="9caa7c42-465b-4be4-b66b-eccc70c324a6" providerId="ADAL" clId="{09A22AC5-BCC0-47DF-9A82-EB6659707B85}" dt="2022-10-13T11:24:30.289" v="853" actId="478"/>
          <ac:spMkLst>
            <pc:docMk/>
            <pc:sldMk cId="3608061277" sldId="2142534175"/>
            <ac:spMk id="99" creationId="{F1D2D959-E400-4CDB-9D08-1EEC3DA82DBE}"/>
          </ac:spMkLst>
        </pc:spChg>
        <pc:spChg chg="del">
          <ac:chgData name="GHADAB, Amal" userId="9caa7c42-465b-4be4-b66b-eccc70c324a6" providerId="ADAL" clId="{09A22AC5-BCC0-47DF-9A82-EB6659707B85}" dt="2022-10-12T13:45:34.976" v="800" actId="478"/>
          <ac:spMkLst>
            <pc:docMk/>
            <pc:sldMk cId="3608061277" sldId="2142534175"/>
            <ac:spMk id="101" creationId="{AC744B29-3BE7-4312-887A-9AD6B28430D3}"/>
          </ac:spMkLst>
        </pc:spChg>
        <pc:spChg chg="del">
          <ac:chgData name="GHADAB, Amal" userId="9caa7c42-465b-4be4-b66b-eccc70c324a6" providerId="ADAL" clId="{09A22AC5-BCC0-47DF-9A82-EB6659707B85}" dt="2022-10-12T13:45:34.976" v="800" actId="478"/>
          <ac:spMkLst>
            <pc:docMk/>
            <pc:sldMk cId="3608061277" sldId="2142534175"/>
            <ac:spMk id="102" creationId="{2BD435D1-5A0A-4D23-90B5-1B64BACCF442}"/>
          </ac:spMkLst>
        </pc:spChg>
        <pc:spChg chg="del">
          <ac:chgData name="GHADAB, Amal" userId="9caa7c42-465b-4be4-b66b-eccc70c324a6" providerId="ADAL" clId="{09A22AC5-BCC0-47DF-9A82-EB6659707B85}" dt="2022-10-12T13:45:34.976" v="800" actId="478"/>
          <ac:spMkLst>
            <pc:docMk/>
            <pc:sldMk cId="3608061277" sldId="2142534175"/>
            <ac:spMk id="103" creationId="{6D7AEA45-C037-4C56-8BDA-D259FFFFB15B}"/>
          </ac:spMkLst>
        </pc:spChg>
        <pc:spChg chg="del">
          <ac:chgData name="GHADAB, Amal" userId="9caa7c42-465b-4be4-b66b-eccc70c324a6" providerId="ADAL" clId="{09A22AC5-BCC0-47DF-9A82-EB6659707B85}" dt="2022-10-12T13:45:34.976" v="800" actId="478"/>
          <ac:spMkLst>
            <pc:docMk/>
            <pc:sldMk cId="3608061277" sldId="2142534175"/>
            <ac:spMk id="104" creationId="{5FC3A3D9-C9FC-485B-8CA6-5D368E9724FD}"/>
          </ac:spMkLst>
        </pc:spChg>
        <pc:spChg chg="mod">
          <ac:chgData name="GHADAB, Amal" userId="9caa7c42-465b-4be4-b66b-eccc70c324a6" providerId="ADAL" clId="{09A22AC5-BCC0-47DF-9A82-EB6659707B85}" dt="2022-10-18T12:24:21.236" v="1246" actId="1076"/>
          <ac:spMkLst>
            <pc:docMk/>
            <pc:sldMk cId="3608061277" sldId="2142534175"/>
            <ac:spMk id="109" creationId="{5C6BC988-EC43-45AB-BF50-038D2F21F73F}"/>
          </ac:spMkLst>
        </pc:spChg>
        <pc:spChg chg="del mod">
          <ac:chgData name="GHADAB, Amal" userId="9caa7c42-465b-4be4-b66b-eccc70c324a6" providerId="ADAL" clId="{09A22AC5-BCC0-47DF-9A82-EB6659707B85}" dt="2022-10-18T12:28:14.726" v="1276" actId="478"/>
          <ac:spMkLst>
            <pc:docMk/>
            <pc:sldMk cId="3608061277" sldId="2142534175"/>
            <ac:spMk id="110" creationId="{76CA089F-3C67-4D4C-A425-19E62BF69255}"/>
          </ac:spMkLst>
        </pc:spChg>
        <pc:cxnChg chg="add mod">
          <ac:chgData name="GHADAB, Amal" userId="9caa7c42-465b-4be4-b66b-eccc70c324a6" providerId="ADAL" clId="{09A22AC5-BCC0-47DF-9A82-EB6659707B85}" dt="2022-10-18T12:24:56.830" v="1252" actId="1076"/>
          <ac:cxnSpMkLst>
            <pc:docMk/>
            <pc:sldMk cId="3608061277" sldId="2142534175"/>
            <ac:cxnSpMk id="11" creationId="{7067AC48-3E62-4C3F-8D99-61C9D2D55EAB}"/>
          </ac:cxnSpMkLst>
        </pc:cxnChg>
        <pc:cxnChg chg="add del mod">
          <ac:chgData name="GHADAB, Amal" userId="9caa7c42-465b-4be4-b66b-eccc70c324a6" providerId="ADAL" clId="{09A22AC5-BCC0-47DF-9A82-EB6659707B85}" dt="2022-10-18T07:31:56.214" v="1043" actId="478"/>
          <ac:cxnSpMkLst>
            <pc:docMk/>
            <pc:sldMk cId="3608061277" sldId="2142534175"/>
            <ac:cxnSpMk id="14" creationId="{B93CEFF9-610B-4A65-BE4C-819B2F358699}"/>
          </ac:cxnSpMkLst>
        </pc:cxnChg>
        <pc:cxnChg chg="add mod">
          <ac:chgData name="GHADAB, Amal" userId="9caa7c42-465b-4be4-b66b-eccc70c324a6" providerId="ADAL" clId="{09A22AC5-BCC0-47DF-9A82-EB6659707B85}" dt="2022-10-18T12:26:24.218" v="1265" actId="1076"/>
          <ac:cxnSpMkLst>
            <pc:docMk/>
            <pc:sldMk cId="3608061277" sldId="2142534175"/>
            <ac:cxnSpMk id="17" creationId="{89B52B87-2654-4062-9697-BD2351593C9A}"/>
          </ac:cxnSpMkLst>
        </pc:cxnChg>
        <pc:cxnChg chg="add del mod">
          <ac:chgData name="GHADAB, Amal" userId="9caa7c42-465b-4be4-b66b-eccc70c324a6" providerId="ADAL" clId="{09A22AC5-BCC0-47DF-9A82-EB6659707B85}" dt="2022-10-18T17:53:01.322" v="1352" actId="478"/>
          <ac:cxnSpMkLst>
            <pc:docMk/>
            <pc:sldMk cId="3608061277" sldId="2142534175"/>
            <ac:cxnSpMk id="19" creationId="{016EE7E4-8BBD-46F3-A6E3-163E01FF9722}"/>
          </ac:cxnSpMkLst>
        </pc:cxnChg>
        <pc:cxnChg chg="add mod">
          <ac:chgData name="GHADAB, Amal" userId="9caa7c42-465b-4be4-b66b-eccc70c324a6" providerId="ADAL" clId="{09A22AC5-BCC0-47DF-9A82-EB6659707B85}" dt="2022-10-18T12:24:21.236" v="1246" actId="1076"/>
          <ac:cxnSpMkLst>
            <pc:docMk/>
            <pc:sldMk cId="3608061277" sldId="2142534175"/>
            <ac:cxnSpMk id="31" creationId="{50849CB0-D415-4C81-976E-9D5D88FCF91D}"/>
          </ac:cxnSpMkLst>
        </pc:cxnChg>
        <pc:cxnChg chg="add mod">
          <ac:chgData name="GHADAB, Amal" userId="9caa7c42-465b-4be4-b66b-eccc70c324a6" providerId="ADAL" clId="{09A22AC5-BCC0-47DF-9A82-EB6659707B85}" dt="2022-10-18T12:26:37.718" v="1272" actId="1035"/>
          <ac:cxnSpMkLst>
            <pc:docMk/>
            <pc:sldMk cId="3608061277" sldId="2142534175"/>
            <ac:cxnSpMk id="44" creationId="{81107543-22EE-4393-BD06-B81EC24874CC}"/>
          </ac:cxnSpMkLst>
        </pc:cxnChg>
        <pc:cxnChg chg="mod">
          <ac:chgData name="GHADAB, Amal" userId="9caa7c42-465b-4be4-b66b-eccc70c324a6" providerId="ADAL" clId="{09A22AC5-BCC0-47DF-9A82-EB6659707B85}" dt="2022-10-18T07:32:47.321" v="1093" actId="1035"/>
          <ac:cxnSpMkLst>
            <pc:docMk/>
            <pc:sldMk cId="3608061277" sldId="2142534175"/>
            <ac:cxnSpMk id="61" creationId="{1C9027F6-BF71-4202-9468-C5FBE2BFBD5E}"/>
          </ac:cxnSpMkLst>
        </pc:cxnChg>
        <pc:cxnChg chg="mod">
          <ac:chgData name="GHADAB, Amal" userId="9caa7c42-465b-4be4-b66b-eccc70c324a6" providerId="ADAL" clId="{09A22AC5-BCC0-47DF-9A82-EB6659707B85}" dt="2022-10-18T07:32:47.321" v="1093" actId="1035"/>
          <ac:cxnSpMkLst>
            <pc:docMk/>
            <pc:sldMk cId="3608061277" sldId="2142534175"/>
            <ac:cxnSpMk id="62" creationId="{6FF958B9-E57D-4BF4-971B-F149CF019CC1}"/>
          </ac:cxnSpMkLst>
        </pc:cxnChg>
        <pc:cxnChg chg="mod">
          <ac:chgData name="GHADAB, Amal" userId="9caa7c42-465b-4be4-b66b-eccc70c324a6" providerId="ADAL" clId="{09A22AC5-BCC0-47DF-9A82-EB6659707B85}" dt="2022-10-18T07:32:47.321" v="1093" actId="1035"/>
          <ac:cxnSpMkLst>
            <pc:docMk/>
            <pc:sldMk cId="3608061277" sldId="2142534175"/>
            <ac:cxnSpMk id="63" creationId="{8F8FF6FB-0004-41EB-9D2C-5517B2FFDC34}"/>
          </ac:cxnSpMkLst>
        </pc:cxnChg>
        <pc:cxnChg chg="mod">
          <ac:chgData name="GHADAB, Amal" userId="9caa7c42-465b-4be4-b66b-eccc70c324a6" providerId="ADAL" clId="{09A22AC5-BCC0-47DF-9A82-EB6659707B85}" dt="2022-10-18T07:32:47.321" v="1093" actId="1035"/>
          <ac:cxnSpMkLst>
            <pc:docMk/>
            <pc:sldMk cId="3608061277" sldId="2142534175"/>
            <ac:cxnSpMk id="64" creationId="{7D536C34-8154-4593-BBFA-F94C12ABE971}"/>
          </ac:cxnSpMkLst>
        </pc:cxnChg>
        <pc:cxnChg chg="mod">
          <ac:chgData name="GHADAB, Amal" userId="9caa7c42-465b-4be4-b66b-eccc70c324a6" providerId="ADAL" clId="{09A22AC5-BCC0-47DF-9A82-EB6659707B85}" dt="2022-10-18T07:32:47.321" v="1093" actId="1035"/>
          <ac:cxnSpMkLst>
            <pc:docMk/>
            <pc:sldMk cId="3608061277" sldId="2142534175"/>
            <ac:cxnSpMk id="65" creationId="{531338A4-6984-45C4-987E-9F0FC6120D44}"/>
          </ac:cxnSpMkLst>
        </pc:cxnChg>
        <pc:cxnChg chg="mod">
          <ac:chgData name="GHADAB, Amal" userId="9caa7c42-465b-4be4-b66b-eccc70c324a6" providerId="ADAL" clId="{09A22AC5-BCC0-47DF-9A82-EB6659707B85}" dt="2022-10-18T07:32:47.321" v="1093" actId="1035"/>
          <ac:cxnSpMkLst>
            <pc:docMk/>
            <pc:sldMk cId="3608061277" sldId="2142534175"/>
            <ac:cxnSpMk id="66" creationId="{C3CA94A3-5E85-41B8-9AAE-3551524B248F}"/>
          </ac:cxnSpMkLst>
        </pc:cxnChg>
        <pc:cxnChg chg="add mod">
          <ac:chgData name="GHADAB, Amal" userId="9caa7c42-465b-4be4-b66b-eccc70c324a6" providerId="ADAL" clId="{09A22AC5-BCC0-47DF-9A82-EB6659707B85}" dt="2022-10-18T12:26:29.294" v="1266" actId="1076"/>
          <ac:cxnSpMkLst>
            <pc:docMk/>
            <pc:sldMk cId="3608061277" sldId="2142534175"/>
            <ac:cxnSpMk id="67" creationId="{2FC4AC55-A091-4F11-B264-EA402FB3CFC5}"/>
          </ac:cxnSpMkLst>
        </pc:cxnChg>
        <pc:cxnChg chg="mod">
          <ac:chgData name="GHADAB, Amal" userId="9caa7c42-465b-4be4-b66b-eccc70c324a6" providerId="ADAL" clId="{09A22AC5-BCC0-47DF-9A82-EB6659707B85}" dt="2022-10-18T12:26:11.116" v="1264" actId="1076"/>
          <ac:cxnSpMkLst>
            <pc:docMk/>
            <pc:sldMk cId="3608061277" sldId="2142534175"/>
            <ac:cxnSpMk id="68" creationId="{4DB7D092-66D4-4FCB-B706-03C925D75AC9}"/>
          </ac:cxnSpMkLst>
        </pc:cxnChg>
        <pc:cxnChg chg="add mod">
          <ac:chgData name="GHADAB, Amal" userId="9caa7c42-465b-4be4-b66b-eccc70c324a6" providerId="ADAL" clId="{09A22AC5-BCC0-47DF-9A82-EB6659707B85}" dt="2022-10-18T12:26:37.718" v="1272" actId="1035"/>
          <ac:cxnSpMkLst>
            <pc:docMk/>
            <pc:sldMk cId="3608061277" sldId="2142534175"/>
            <ac:cxnSpMk id="72" creationId="{EA11F631-3C18-4627-AB49-C61AFB464B50}"/>
          </ac:cxnSpMkLst>
        </pc:cxnChg>
        <pc:cxnChg chg="del mod">
          <ac:chgData name="GHADAB, Amal" userId="9caa7c42-465b-4be4-b66b-eccc70c324a6" providerId="ADAL" clId="{09A22AC5-BCC0-47DF-9A82-EB6659707B85}" dt="2022-10-18T12:08:10.816" v="1189" actId="478"/>
          <ac:cxnSpMkLst>
            <pc:docMk/>
            <pc:sldMk cId="3608061277" sldId="2142534175"/>
            <ac:cxnSpMk id="74" creationId="{A7AAB42A-6C32-4F39-B8B1-31D587C598C7}"/>
          </ac:cxnSpMkLst>
        </pc:cxnChg>
        <pc:cxnChg chg="add mod">
          <ac:chgData name="GHADAB, Amal" userId="9caa7c42-465b-4be4-b66b-eccc70c324a6" providerId="ADAL" clId="{09A22AC5-BCC0-47DF-9A82-EB6659707B85}" dt="2022-10-18T12:26:41.839" v="1273" actId="14100"/>
          <ac:cxnSpMkLst>
            <pc:docMk/>
            <pc:sldMk cId="3608061277" sldId="2142534175"/>
            <ac:cxnSpMk id="75" creationId="{65A8DDDC-5319-4F3C-98B7-5FC124F09E46}"/>
          </ac:cxnSpMkLst>
        </pc:cxnChg>
        <pc:cxnChg chg="add">
          <ac:chgData name="GHADAB, Amal" userId="9caa7c42-465b-4be4-b66b-eccc70c324a6" providerId="ADAL" clId="{09A22AC5-BCC0-47DF-9A82-EB6659707B85}" dt="2022-10-18T12:27:04.760" v="1275" actId="11529"/>
          <ac:cxnSpMkLst>
            <pc:docMk/>
            <pc:sldMk cId="3608061277" sldId="2142534175"/>
            <ac:cxnSpMk id="86" creationId="{426FA69F-E433-4A87-818F-C8055876645A}"/>
          </ac:cxnSpMkLst>
        </pc:cxnChg>
        <pc:cxnChg chg="add del mod">
          <ac:chgData name="GHADAB, Amal" userId="9caa7c42-465b-4be4-b66b-eccc70c324a6" providerId="ADAL" clId="{09A22AC5-BCC0-47DF-9A82-EB6659707B85}" dt="2022-10-18T17:52:58.719" v="1350"/>
          <ac:cxnSpMkLst>
            <pc:docMk/>
            <pc:sldMk cId="3608061277" sldId="2142534175"/>
            <ac:cxnSpMk id="92" creationId="{96E5193D-031B-4CBD-89A0-A6F67B99A151}"/>
          </ac:cxnSpMkLst>
        </pc:cxnChg>
        <pc:cxnChg chg="add del mod">
          <ac:chgData name="GHADAB, Amal" userId="9caa7c42-465b-4be4-b66b-eccc70c324a6" providerId="ADAL" clId="{09A22AC5-BCC0-47DF-9A82-EB6659707B85}" dt="2022-10-18T17:52:58.719" v="1350"/>
          <ac:cxnSpMkLst>
            <pc:docMk/>
            <pc:sldMk cId="3608061277" sldId="2142534175"/>
            <ac:cxnSpMk id="94" creationId="{11F5C909-EF06-4129-BE55-C56BDF0006FA}"/>
          </ac:cxnSpMkLst>
        </pc:cxnChg>
        <pc:cxnChg chg="add mod">
          <ac:chgData name="GHADAB, Amal" userId="9caa7c42-465b-4be4-b66b-eccc70c324a6" providerId="ADAL" clId="{09A22AC5-BCC0-47DF-9A82-EB6659707B85}" dt="2022-10-18T17:53:01.804" v="1353"/>
          <ac:cxnSpMkLst>
            <pc:docMk/>
            <pc:sldMk cId="3608061277" sldId="2142534175"/>
            <ac:cxnSpMk id="96" creationId="{9449A5FB-B484-4C29-B0A7-A9A5F55988AC}"/>
          </ac:cxnSpMkLst>
        </pc:cxnChg>
        <pc:cxnChg chg="add mod">
          <ac:chgData name="GHADAB, Amal" userId="9caa7c42-465b-4be4-b66b-eccc70c324a6" providerId="ADAL" clId="{09A22AC5-BCC0-47DF-9A82-EB6659707B85}" dt="2022-10-18T17:53:01.804" v="1353"/>
          <ac:cxnSpMkLst>
            <pc:docMk/>
            <pc:sldMk cId="3608061277" sldId="2142534175"/>
            <ac:cxnSpMk id="100" creationId="{498FA410-672B-4171-9050-F093FD170EA5}"/>
          </ac:cxnSpMkLst>
        </pc:cxnChg>
      </pc:sldChg>
      <pc:sldChg chg="addSp modSp add mod">
        <pc:chgData name="GHADAB, Amal" userId="9caa7c42-465b-4be4-b66b-eccc70c324a6" providerId="ADAL" clId="{09A22AC5-BCC0-47DF-9A82-EB6659707B85}" dt="2022-10-18T19:06:18.043" v="1397" actId="14100"/>
        <pc:sldMkLst>
          <pc:docMk/>
          <pc:sldMk cId="3748497594" sldId="2142534176"/>
        </pc:sldMkLst>
        <pc:spChg chg="mod">
          <ac:chgData name="GHADAB, Amal" userId="9caa7c42-465b-4be4-b66b-eccc70c324a6" providerId="ADAL" clId="{09A22AC5-BCC0-47DF-9A82-EB6659707B85}" dt="2022-10-18T17:53:25.594" v="1383" actId="20577"/>
          <ac:spMkLst>
            <pc:docMk/>
            <pc:sldMk cId="3748497594" sldId="2142534176"/>
            <ac:spMk id="3" creationId="{0311D821-AEF7-4002-8E2E-12C7B9240BF3}"/>
          </ac:spMkLst>
        </pc:spChg>
        <pc:spChg chg="mod">
          <ac:chgData name="GHADAB, Amal" userId="9caa7c42-465b-4be4-b66b-eccc70c324a6" providerId="ADAL" clId="{09A22AC5-BCC0-47DF-9A82-EB6659707B85}" dt="2022-10-18T19:06:18.043" v="1397" actId="14100"/>
          <ac:spMkLst>
            <pc:docMk/>
            <pc:sldMk cId="3748497594" sldId="2142534176"/>
            <ac:spMk id="15" creationId="{0D0548BF-F5E4-4264-82A2-B78F0E6E2772}"/>
          </ac:spMkLst>
        </pc:spChg>
        <pc:spChg chg="mod">
          <ac:chgData name="GHADAB, Amal" userId="9caa7c42-465b-4be4-b66b-eccc70c324a6" providerId="ADAL" clId="{09A22AC5-BCC0-47DF-9A82-EB6659707B85}" dt="2022-10-18T17:54:22.171" v="1384" actId="14100"/>
          <ac:spMkLst>
            <pc:docMk/>
            <pc:sldMk cId="3748497594" sldId="2142534176"/>
            <ac:spMk id="30" creationId="{99A33903-A591-4E8D-ACE0-8F2DB0155DFF}"/>
          </ac:spMkLst>
        </pc:spChg>
        <pc:spChg chg="add mod">
          <ac:chgData name="GHADAB, Amal" userId="9caa7c42-465b-4be4-b66b-eccc70c324a6" providerId="ADAL" clId="{09A22AC5-BCC0-47DF-9A82-EB6659707B85}" dt="2022-10-18T17:47:52.273" v="1320" actId="1076"/>
          <ac:spMkLst>
            <pc:docMk/>
            <pc:sldMk cId="3748497594" sldId="2142534176"/>
            <ac:spMk id="41" creationId="{30CBFD75-B6AE-486D-AABA-EE8F552CE3E6}"/>
          </ac:spMkLst>
        </pc:spChg>
        <pc:spChg chg="add mod ord">
          <ac:chgData name="GHADAB, Amal" userId="9caa7c42-465b-4be4-b66b-eccc70c324a6" providerId="ADAL" clId="{09A22AC5-BCC0-47DF-9A82-EB6659707B85}" dt="2022-10-18T17:50:19.329" v="1348" actId="14100"/>
          <ac:spMkLst>
            <pc:docMk/>
            <pc:sldMk cId="3748497594" sldId="2142534176"/>
            <ac:spMk id="51" creationId="{9C310A23-112F-40BB-B761-3C11F6A383B4}"/>
          </ac:spMkLst>
        </pc:spChg>
        <pc:spChg chg="mod">
          <ac:chgData name="GHADAB, Amal" userId="9caa7c42-465b-4be4-b66b-eccc70c324a6" providerId="ADAL" clId="{09A22AC5-BCC0-47DF-9A82-EB6659707B85}" dt="2022-10-18T17:54:29.013" v="1385" actId="14100"/>
          <ac:spMkLst>
            <pc:docMk/>
            <pc:sldMk cId="3748497594" sldId="2142534176"/>
            <ac:spMk id="53" creationId="{B14062CF-AD55-46BD-B118-D12045B040AD}"/>
          </ac:spMkLst>
        </pc:spChg>
        <pc:spChg chg="mod">
          <ac:chgData name="GHADAB, Amal" userId="9caa7c42-465b-4be4-b66b-eccc70c324a6" providerId="ADAL" clId="{09A22AC5-BCC0-47DF-9A82-EB6659707B85}" dt="2022-10-18T17:47:44.116" v="1318" actId="21"/>
          <ac:spMkLst>
            <pc:docMk/>
            <pc:sldMk cId="3748497594" sldId="2142534176"/>
            <ac:spMk id="98" creationId="{C21C4A84-5D2F-4A05-A257-995E275951CB}"/>
          </ac:spMkLst>
        </pc:spChg>
        <pc:cxnChg chg="mod">
          <ac:chgData name="GHADAB, Amal" userId="9caa7c42-465b-4be4-b66b-eccc70c324a6" providerId="ADAL" clId="{09A22AC5-BCC0-47DF-9A82-EB6659707B85}" dt="2022-10-18T17:43:19.070" v="1305" actId="14100"/>
          <ac:cxnSpMkLst>
            <pc:docMk/>
            <pc:sldMk cId="3748497594" sldId="2142534176"/>
            <ac:cxnSpMk id="19" creationId="{016EE7E4-8BBD-46F3-A6E3-163E01FF9722}"/>
          </ac:cxnSpMkLst>
        </pc:cxnChg>
        <pc:cxnChg chg="add mod">
          <ac:chgData name="GHADAB, Amal" userId="9caa7c42-465b-4be4-b66b-eccc70c324a6" providerId="ADAL" clId="{09A22AC5-BCC0-47DF-9A82-EB6659707B85}" dt="2022-10-18T17:47:52.273" v="1320" actId="1076"/>
          <ac:cxnSpMkLst>
            <pc:docMk/>
            <pc:sldMk cId="3748497594" sldId="2142534176"/>
            <ac:cxnSpMk id="45" creationId="{5035A93B-9F8F-4DC0-80E9-16864715768E}"/>
          </ac:cxnSpMkLst>
        </pc:cxnChg>
      </pc:sldChg>
    </pc:docChg>
  </pc:docChgLst>
  <pc:docChgLst>
    <pc:chgData name="GHADAB, Amal" userId="9caa7c42-465b-4be4-b66b-eccc70c324a6" providerId="ADAL" clId="{FB78D9B4-BEAD-490D-BDD4-9AACF3AD4F28}"/>
    <pc:docChg chg="undo redo custSel addSld delSld modSld sldOrd addSection modSection">
      <pc:chgData name="GHADAB, Amal" userId="9caa7c42-465b-4be4-b66b-eccc70c324a6" providerId="ADAL" clId="{FB78D9B4-BEAD-490D-BDD4-9AACF3AD4F28}" dt="2022-10-27T13:34:12.404" v="274" actId="14100"/>
      <pc:docMkLst>
        <pc:docMk/>
      </pc:docMkLst>
      <pc:sldChg chg="modSp mod">
        <pc:chgData name="GHADAB, Amal" userId="9caa7c42-465b-4be4-b66b-eccc70c324a6" providerId="ADAL" clId="{FB78D9B4-BEAD-490D-BDD4-9AACF3AD4F28}" dt="2022-10-27T07:59:15.855" v="101" actId="1076"/>
        <pc:sldMkLst>
          <pc:docMk/>
          <pc:sldMk cId="629800437" sldId="259"/>
        </pc:sldMkLst>
        <pc:spChg chg="mod">
          <ac:chgData name="GHADAB, Amal" userId="9caa7c42-465b-4be4-b66b-eccc70c324a6" providerId="ADAL" clId="{FB78D9B4-BEAD-490D-BDD4-9AACF3AD4F28}" dt="2022-10-27T07:59:15.855" v="101" actId="1076"/>
          <ac:spMkLst>
            <pc:docMk/>
            <pc:sldMk cId="629800437" sldId="259"/>
            <ac:spMk id="2" creationId="{851FB9CC-DD8A-4E60-9220-D8F72D933A90}"/>
          </ac:spMkLst>
        </pc:spChg>
        <pc:graphicFrameChg chg="mod modGraphic">
          <ac:chgData name="GHADAB, Amal" userId="9caa7c42-465b-4be4-b66b-eccc70c324a6" providerId="ADAL" clId="{FB78D9B4-BEAD-490D-BDD4-9AACF3AD4F28}" dt="2022-10-27T07:57:17.497" v="100" actId="3626"/>
          <ac:graphicFrameMkLst>
            <pc:docMk/>
            <pc:sldMk cId="629800437" sldId="259"/>
            <ac:graphicFrameMk id="5" creationId="{5C25EFED-6047-4355-B290-CCDA1C4DC2B6}"/>
          </ac:graphicFrameMkLst>
        </pc:graphicFrameChg>
      </pc:sldChg>
      <pc:sldChg chg="del">
        <pc:chgData name="GHADAB, Amal" userId="9caa7c42-465b-4be4-b66b-eccc70c324a6" providerId="ADAL" clId="{FB78D9B4-BEAD-490D-BDD4-9AACF3AD4F28}" dt="2022-10-27T12:30:39.482" v="255" actId="47"/>
        <pc:sldMkLst>
          <pc:docMk/>
          <pc:sldMk cId="2304783142" sldId="2844"/>
        </pc:sldMkLst>
      </pc:sldChg>
      <pc:sldChg chg="addSp delSp modSp mod">
        <pc:chgData name="GHADAB, Amal" userId="9caa7c42-465b-4be4-b66b-eccc70c324a6" providerId="ADAL" clId="{FB78D9B4-BEAD-490D-BDD4-9AACF3AD4F28}" dt="2022-10-27T08:07:10.908" v="197"/>
        <pc:sldMkLst>
          <pc:docMk/>
          <pc:sldMk cId="870072165" sldId="2142534171"/>
        </pc:sldMkLst>
        <pc:spChg chg="add del mod">
          <ac:chgData name="GHADAB, Amal" userId="9caa7c42-465b-4be4-b66b-eccc70c324a6" providerId="ADAL" clId="{FB78D9B4-BEAD-490D-BDD4-9AACF3AD4F28}" dt="2022-10-27T08:06:33.450" v="189" actId="478"/>
          <ac:spMkLst>
            <pc:docMk/>
            <pc:sldMk cId="870072165" sldId="2142534171"/>
            <ac:spMk id="3" creationId="{AF5C8D6F-2B8A-4F3E-B2C7-B24F1DF9E11D}"/>
          </ac:spMkLst>
        </pc:spChg>
        <pc:spChg chg="add mod">
          <ac:chgData name="GHADAB, Amal" userId="9caa7c42-465b-4be4-b66b-eccc70c324a6" providerId="ADAL" clId="{FB78D9B4-BEAD-490D-BDD4-9AACF3AD4F28}" dt="2022-10-27T08:06:01.740" v="174" actId="1076"/>
          <ac:spMkLst>
            <pc:docMk/>
            <pc:sldMk cId="870072165" sldId="2142534171"/>
            <ac:spMk id="6" creationId="{B7FDF4BF-E49D-4607-BBC3-32A4DD9752C9}"/>
          </ac:spMkLst>
        </pc:spChg>
        <pc:spChg chg="add mod">
          <ac:chgData name="GHADAB, Amal" userId="9caa7c42-465b-4be4-b66b-eccc70c324a6" providerId="ADAL" clId="{FB78D9B4-BEAD-490D-BDD4-9AACF3AD4F28}" dt="2022-10-27T08:06:07.525" v="176" actId="1076"/>
          <ac:spMkLst>
            <pc:docMk/>
            <pc:sldMk cId="870072165" sldId="2142534171"/>
            <ac:spMk id="7" creationId="{996E8502-24E1-4189-9DBF-9F6EF0FCE9F6}"/>
          </ac:spMkLst>
        </pc:spChg>
        <pc:spChg chg="add mod">
          <ac:chgData name="GHADAB, Amal" userId="9caa7c42-465b-4be4-b66b-eccc70c324a6" providerId="ADAL" clId="{FB78D9B4-BEAD-490D-BDD4-9AACF3AD4F28}" dt="2022-10-27T08:06:10.478" v="178" actId="1076"/>
          <ac:spMkLst>
            <pc:docMk/>
            <pc:sldMk cId="870072165" sldId="2142534171"/>
            <ac:spMk id="8" creationId="{C42C09EE-4139-4A81-B83D-311F33936C9F}"/>
          </ac:spMkLst>
        </pc:spChg>
        <pc:spChg chg="add mod">
          <ac:chgData name="GHADAB, Amal" userId="9caa7c42-465b-4be4-b66b-eccc70c324a6" providerId="ADAL" clId="{FB78D9B4-BEAD-490D-BDD4-9AACF3AD4F28}" dt="2022-10-27T08:06:14.333" v="180" actId="1076"/>
          <ac:spMkLst>
            <pc:docMk/>
            <pc:sldMk cId="870072165" sldId="2142534171"/>
            <ac:spMk id="9" creationId="{D040815A-09EC-461A-9CDD-4CCA93C061B7}"/>
          </ac:spMkLst>
        </pc:spChg>
        <pc:spChg chg="add mod">
          <ac:chgData name="GHADAB, Amal" userId="9caa7c42-465b-4be4-b66b-eccc70c324a6" providerId="ADAL" clId="{FB78D9B4-BEAD-490D-BDD4-9AACF3AD4F28}" dt="2022-10-27T08:06:17.635" v="182" actId="1076"/>
          <ac:spMkLst>
            <pc:docMk/>
            <pc:sldMk cId="870072165" sldId="2142534171"/>
            <ac:spMk id="10" creationId="{01A03525-96BA-4C42-A36F-B46CF40E95D6}"/>
          </ac:spMkLst>
        </pc:spChg>
        <pc:spChg chg="add mod">
          <ac:chgData name="GHADAB, Amal" userId="9caa7c42-465b-4be4-b66b-eccc70c324a6" providerId="ADAL" clId="{FB78D9B4-BEAD-490D-BDD4-9AACF3AD4F28}" dt="2022-10-27T08:06:23.019" v="184" actId="1076"/>
          <ac:spMkLst>
            <pc:docMk/>
            <pc:sldMk cId="870072165" sldId="2142534171"/>
            <ac:spMk id="11" creationId="{F10E1B4D-925D-431E-AF98-01931BC09730}"/>
          </ac:spMkLst>
        </pc:spChg>
        <pc:spChg chg="add mod">
          <ac:chgData name="GHADAB, Amal" userId="9caa7c42-465b-4be4-b66b-eccc70c324a6" providerId="ADAL" clId="{FB78D9B4-BEAD-490D-BDD4-9AACF3AD4F28}" dt="2022-10-27T08:06:27.445" v="186" actId="1076"/>
          <ac:spMkLst>
            <pc:docMk/>
            <pc:sldMk cId="870072165" sldId="2142534171"/>
            <ac:spMk id="12" creationId="{E8B9D758-304A-4733-A43F-6A815307A661}"/>
          </ac:spMkLst>
        </pc:spChg>
        <pc:spChg chg="add mod">
          <ac:chgData name="GHADAB, Amal" userId="9caa7c42-465b-4be4-b66b-eccc70c324a6" providerId="ADAL" clId="{FB78D9B4-BEAD-490D-BDD4-9AACF3AD4F28}" dt="2022-10-27T08:06:31.293" v="188" actId="1076"/>
          <ac:spMkLst>
            <pc:docMk/>
            <pc:sldMk cId="870072165" sldId="2142534171"/>
            <ac:spMk id="13" creationId="{31A246C7-4266-45C7-B53A-4E0F8EC29341}"/>
          </ac:spMkLst>
        </pc:spChg>
        <pc:spChg chg="add mod">
          <ac:chgData name="GHADAB, Amal" userId="9caa7c42-465b-4be4-b66b-eccc70c324a6" providerId="ADAL" clId="{FB78D9B4-BEAD-490D-BDD4-9AACF3AD4F28}" dt="2022-10-27T08:06:39.930" v="191" actId="1076"/>
          <ac:spMkLst>
            <pc:docMk/>
            <pc:sldMk cId="870072165" sldId="2142534171"/>
            <ac:spMk id="14" creationId="{4B5C244B-B88E-42AC-B18C-9E30B9D76EEF}"/>
          </ac:spMkLst>
        </pc:spChg>
        <pc:spChg chg="add mod">
          <ac:chgData name="GHADAB, Amal" userId="9caa7c42-465b-4be4-b66b-eccc70c324a6" providerId="ADAL" clId="{FB78D9B4-BEAD-490D-BDD4-9AACF3AD4F28}" dt="2022-10-27T08:06:46.967" v="194" actId="1076"/>
          <ac:spMkLst>
            <pc:docMk/>
            <pc:sldMk cId="870072165" sldId="2142534171"/>
            <ac:spMk id="15" creationId="{254E5530-7A25-4767-B87C-9F7A96D5B342}"/>
          </ac:spMkLst>
        </pc:spChg>
        <pc:graphicFrameChg chg="mod modGraphic">
          <ac:chgData name="GHADAB, Amal" userId="9caa7c42-465b-4be4-b66b-eccc70c324a6" providerId="ADAL" clId="{FB78D9B4-BEAD-490D-BDD4-9AACF3AD4F28}" dt="2022-10-27T08:07:10.908" v="197"/>
          <ac:graphicFrameMkLst>
            <pc:docMk/>
            <pc:sldMk cId="870072165" sldId="2142534171"/>
            <ac:graphicFrameMk id="5" creationId="{5C25EFED-6047-4355-B290-CCDA1C4DC2B6}"/>
          </ac:graphicFrameMkLst>
        </pc:graphicFrameChg>
      </pc:sldChg>
      <pc:sldChg chg="addSp delSp modSp mod">
        <pc:chgData name="GHADAB, Amal" userId="9caa7c42-465b-4be4-b66b-eccc70c324a6" providerId="ADAL" clId="{FB78D9B4-BEAD-490D-BDD4-9AACF3AD4F28}" dt="2022-10-25T14:21:30.536" v="13"/>
        <pc:sldMkLst>
          <pc:docMk/>
          <pc:sldMk cId="3608061277" sldId="2142534175"/>
        </pc:sldMkLst>
        <pc:spChg chg="add del mod">
          <ac:chgData name="GHADAB, Amal" userId="9caa7c42-465b-4be4-b66b-eccc70c324a6" providerId="ADAL" clId="{FB78D9B4-BEAD-490D-BDD4-9AACF3AD4F28}" dt="2022-10-25T14:21:24.538" v="12" actId="478"/>
          <ac:spMkLst>
            <pc:docMk/>
            <pc:sldMk cId="3608061277" sldId="2142534175"/>
            <ac:spMk id="43" creationId="{7EE07FB2-18D5-4EFD-8713-92ED7F4C0866}"/>
          </ac:spMkLst>
        </pc:spChg>
        <pc:spChg chg="add mod">
          <ac:chgData name="GHADAB, Amal" userId="9caa7c42-465b-4be4-b66b-eccc70c324a6" providerId="ADAL" clId="{FB78D9B4-BEAD-490D-BDD4-9AACF3AD4F28}" dt="2022-10-25T14:21:30.536" v="13"/>
          <ac:spMkLst>
            <pc:docMk/>
            <pc:sldMk cId="3608061277" sldId="2142534175"/>
            <ac:spMk id="45" creationId="{80A6F337-5A85-4549-B3C2-715C7D1B8B58}"/>
          </ac:spMkLst>
        </pc:spChg>
      </pc:sldChg>
      <pc:sldChg chg="addSp modSp mod">
        <pc:chgData name="GHADAB, Amal" userId="9caa7c42-465b-4be4-b66b-eccc70c324a6" providerId="ADAL" clId="{FB78D9B4-BEAD-490D-BDD4-9AACF3AD4F28}" dt="2022-10-25T14:21:16.265" v="9" actId="1076"/>
        <pc:sldMkLst>
          <pc:docMk/>
          <pc:sldMk cId="3748497594" sldId="2142534176"/>
        </pc:sldMkLst>
        <pc:spChg chg="add mod">
          <ac:chgData name="GHADAB, Amal" userId="9caa7c42-465b-4be4-b66b-eccc70c324a6" providerId="ADAL" clId="{FB78D9B4-BEAD-490D-BDD4-9AACF3AD4F28}" dt="2022-10-25T14:21:16.265" v="9" actId="1076"/>
          <ac:spMkLst>
            <pc:docMk/>
            <pc:sldMk cId="3748497594" sldId="2142534176"/>
            <ac:spMk id="46" creationId="{F3ACA1FF-1E5C-4765-BD86-BC08981E72DF}"/>
          </ac:spMkLst>
        </pc:spChg>
      </pc:sldChg>
      <pc:sldChg chg="modSp add mod">
        <pc:chgData name="GHADAB, Amal" userId="9caa7c42-465b-4be4-b66b-eccc70c324a6" providerId="ADAL" clId="{FB78D9B4-BEAD-490D-BDD4-9AACF3AD4F28}" dt="2022-10-25T14:25:19.265" v="38" actId="20577"/>
        <pc:sldMkLst>
          <pc:docMk/>
          <pc:sldMk cId="2796540798" sldId="2142534177"/>
        </pc:sldMkLst>
        <pc:spChg chg="mod">
          <ac:chgData name="GHADAB, Amal" userId="9caa7c42-465b-4be4-b66b-eccc70c324a6" providerId="ADAL" clId="{FB78D9B4-BEAD-490D-BDD4-9AACF3AD4F28}" dt="2022-10-25T14:25:19.265" v="38" actId="20577"/>
          <ac:spMkLst>
            <pc:docMk/>
            <pc:sldMk cId="2796540798" sldId="2142534177"/>
            <ac:spMk id="3" creationId="{0311D821-AEF7-4002-8E2E-12C7B9240BF3}"/>
          </ac:spMkLst>
        </pc:spChg>
        <pc:spChg chg="mod">
          <ac:chgData name="GHADAB, Amal" userId="9caa7c42-465b-4be4-b66b-eccc70c324a6" providerId="ADAL" clId="{FB78D9B4-BEAD-490D-BDD4-9AACF3AD4F28}" dt="2022-10-25T14:24:57.674" v="21" actId="207"/>
          <ac:spMkLst>
            <pc:docMk/>
            <pc:sldMk cId="2796540798" sldId="2142534177"/>
            <ac:spMk id="15" creationId="{0D0548BF-F5E4-4264-82A2-B78F0E6E2772}"/>
          </ac:spMkLst>
        </pc:spChg>
      </pc:sldChg>
      <pc:sldChg chg="addSp delSp modSp add del mod">
        <pc:chgData name="GHADAB, Amal" userId="9caa7c42-465b-4be4-b66b-eccc70c324a6" providerId="ADAL" clId="{FB78D9B4-BEAD-490D-BDD4-9AACF3AD4F28}" dt="2022-10-27T12:31:13.224" v="264" actId="47"/>
        <pc:sldMkLst>
          <pc:docMk/>
          <pc:sldMk cId="1719422438" sldId="2142534178"/>
        </pc:sldMkLst>
        <pc:spChg chg="mod">
          <ac:chgData name="GHADAB, Amal" userId="9caa7c42-465b-4be4-b66b-eccc70c324a6" providerId="ADAL" clId="{FB78D9B4-BEAD-490D-BDD4-9AACF3AD4F28}" dt="2022-10-27T12:29:32.344" v="245" actId="20577"/>
          <ac:spMkLst>
            <pc:docMk/>
            <pc:sldMk cId="1719422438" sldId="2142534178"/>
            <ac:spMk id="2" creationId="{3ED4065E-AA96-4D4F-A643-2625D82B230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5" creationId="{00000000-0000-0000-0000-000000000000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10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19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20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21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22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27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28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29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30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31" creationId="{909AD963-05C5-4AEF-BD88-4D414157C6BC}"/>
          </ac:spMkLst>
        </pc:spChg>
        <pc:spChg chg="del">
          <ac:chgData name="GHADAB, Amal" userId="9caa7c42-465b-4be4-b66b-eccc70c324a6" providerId="ADAL" clId="{FB78D9B4-BEAD-490D-BDD4-9AACF3AD4F28}" dt="2022-10-27T12:29:05.623" v="201" actId="478"/>
          <ac:spMkLst>
            <pc:docMk/>
            <pc:sldMk cId="1719422438" sldId="2142534178"/>
            <ac:spMk id="32" creationId="{909AD963-05C5-4AEF-BD88-4D414157C6BC}"/>
          </ac:spMkLst>
        </pc:spChg>
        <pc:picChg chg="add mod">
          <ac:chgData name="GHADAB, Amal" userId="9caa7c42-465b-4be4-b66b-eccc70c324a6" providerId="ADAL" clId="{FB78D9B4-BEAD-490D-BDD4-9AACF3AD4F28}" dt="2022-10-27T12:29:08.317" v="203" actId="1076"/>
          <ac:picMkLst>
            <pc:docMk/>
            <pc:sldMk cId="1719422438" sldId="2142534178"/>
            <ac:picMk id="4" creationId="{DF16BFD1-0287-4481-8DF8-6BC85801F385}"/>
          </ac:picMkLst>
        </pc:picChg>
        <pc:cxnChg chg="del mod">
          <ac:chgData name="GHADAB, Amal" userId="9caa7c42-465b-4be4-b66b-eccc70c324a6" providerId="ADAL" clId="{FB78D9B4-BEAD-490D-BDD4-9AACF3AD4F28}" dt="2022-10-27T12:29:05.623" v="201" actId="478"/>
          <ac:cxnSpMkLst>
            <pc:docMk/>
            <pc:sldMk cId="1719422438" sldId="2142534178"/>
            <ac:cxnSpMk id="33" creationId="{00000000-0000-0000-0000-000000000000}"/>
          </ac:cxnSpMkLst>
        </pc:cxnChg>
        <pc:cxnChg chg="del">
          <ac:chgData name="GHADAB, Amal" userId="9caa7c42-465b-4be4-b66b-eccc70c324a6" providerId="ADAL" clId="{FB78D9B4-BEAD-490D-BDD4-9AACF3AD4F28}" dt="2022-10-27T12:29:05.623" v="201" actId="478"/>
          <ac:cxnSpMkLst>
            <pc:docMk/>
            <pc:sldMk cId="1719422438" sldId="2142534178"/>
            <ac:cxnSpMk id="35" creationId="{00000000-0000-0000-0000-000000000000}"/>
          </ac:cxnSpMkLst>
        </pc:cxnChg>
        <pc:cxnChg chg="del mod">
          <ac:chgData name="GHADAB, Amal" userId="9caa7c42-465b-4be4-b66b-eccc70c324a6" providerId="ADAL" clId="{FB78D9B4-BEAD-490D-BDD4-9AACF3AD4F28}" dt="2022-10-27T12:29:05.623" v="201" actId="478"/>
          <ac:cxnSpMkLst>
            <pc:docMk/>
            <pc:sldMk cId="1719422438" sldId="2142534178"/>
            <ac:cxnSpMk id="37" creationId="{00000000-0000-0000-0000-000000000000}"/>
          </ac:cxnSpMkLst>
        </pc:cxnChg>
      </pc:sldChg>
      <pc:sldChg chg="addSp delSp modSp add mod ord">
        <pc:chgData name="GHADAB, Amal" userId="9caa7c42-465b-4be4-b66b-eccc70c324a6" providerId="ADAL" clId="{FB78D9B4-BEAD-490D-BDD4-9AACF3AD4F28}" dt="2022-10-27T13:34:04.634" v="273" actId="14100"/>
        <pc:sldMkLst>
          <pc:docMk/>
          <pc:sldMk cId="54474262" sldId="2142534179"/>
        </pc:sldMkLst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3" creationId="{0311D821-AEF7-4002-8E2E-12C7B9240BF3}"/>
          </ac:spMkLst>
        </pc:spChg>
        <pc:spChg chg="add del mod">
          <ac:chgData name="GHADAB, Amal" userId="9caa7c42-465b-4be4-b66b-eccc70c324a6" providerId="ADAL" clId="{FB78D9B4-BEAD-490D-BDD4-9AACF3AD4F28}" dt="2022-10-27T12:30:28.793" v="253" actId="478"/>
          <ac:spMkLst>
            <pc:docMk/>
            <pc:sldMk cId="54474262" sldId="2142534179"/>
            <ac:spMk id="4" creationId="{0045C3C8-0B02-4A95-91C5-E8CDB47EA20A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5" creationId="{88F56083-18B5-4FAE-8F91-65512E01C5AA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6" creationId="{8F953511-2D56-46DF-A285-C14ACEB8AD96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12" creationId="{F82D1158-108E-4F51-B874-D61470E35152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15" creationId="{0D0548BF-F5E4-4264-82A2-B78F0E6E2772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23" creationId="{5505C02E-E71C-4EA8-B6D7-212C9F3F5894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30" creationId="{99A33903-A591-4E8D-ACE0-8F2DB0155DFF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35" creationId="{A46D665C-5B40-4C08-B7CE-8D721DFC42B9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41" creationId="{30CBFD75-B6AE-486D-AABA-EE8F552CE3E6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46" creationId="{F3ACA1FF-1E5C-4765-BD86-BC08981E72DF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47" creationId="{80FE28FF-7067-4AD9-92D1-4E89801DB388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48" creationId="{8B05F753-71C9-48E2-8CD7-9AFBA5CB23FD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49" creationId="{9D22F6C9-2CB4-4E5B-B29D-97C925B7E321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50" creationId="{5A30FEB5-24DE-4E67-96DE-B16AB8D7DE6E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51" creationId="{9C310A23-112F-40BB-B761-3C11F6A383B4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52" creationId="{BE0B6153-CD28-443D-93F9-EE428134B4DA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53" creationId="{B14062CF-AD55-46BD-B118-D12045B040AD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54" creationId="{9CAE739B-3DD0-4C75-92ED-6E5ECF4028AC}"/>
          </ac:spMkLst>
        </pc:spChg>
        <pc:spChg chg="add mod">
          <ac:chgData name="GHADAB, Amal" userId="9caa7c42-465b-4be4-b66b-eccc70c324a6" providerId="ADAL" clId="{FB78D9B4-BEAD-490D-BDD4-9AACF3AD4F28}" dt="2022-10-27T13:34:04.634" v="273" actId="14100"/>
          <ac:spMkLst>
            <pc:docMk/>
            <pc:sldMk cId="54474262" sldId="2142534179"/>
            <ac:spMk id="55" creationId="{6823C5FA-70B8-4258-A801-B8CF6DA944F7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56" creationId="{327D7EE2-A2F6-40F5-8135-9C2910B27D62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57" creationId="{DAF5B812-B39C-414E-95D8-FED75322E3F9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58" creationId="{8147E533-98E5-437F-8F6A-08BB8F0EA1C2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59" creationId="{887EA733-F3AD-49FC-B6B2-2CC7EF60BA25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60" creationId="{F06A523A-8D85-4245-AF9B-8B5909BE2796}"/>
          </ac:spMkLst>
        </pc:spChg>
        <pc:spChg chg="add del mod">
          <ac:chgData name="GHADAB, Amal" userId="9caa7c42-465b-4be4-b66b-eccc70c324a6" providerId="ADAL" clId="{FB78D9B4-BEAD-490D-BDD4-9AACF3AD4F28}" dt="2022-10-27T13:33:51.331" v="271" actId="478"/>
          <ac:spMkLst>
            <pc:docMk/>
            <pc:sldMk cId="54474262" sldId="2142534179"/>
            <ac:spMk id="69" creationId="{DF9F648A-CB6D-41D1-93EE-AD5BD3961EEA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70" creationId="{91CFC499-8057-490D-B7F0-63E0FA72B682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71" creationId="{3080B02B-C95D-4F4B-943E-56E871D654F8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73" creationId="{F7B46E8B-B8C6-4DFD-8FCA-A1F11D46CC80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74" creationId="{C610420C-B9AF-4210-AE94-4F94725C8269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76" creationId="{8C593B75-2237-49CF-90CA-454F0F866197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77" creationId="{5C55A25F-964B-4D61-B8FC-5575C2A49C1B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78" creationId="{C4C593BF-CAF9-4DC4-8CDC-D02A9F2A3735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79" creationId="{D796AEE5-4AF1-4B63-BDBB-E26EE8F529F0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80" creationId="{BEF54514-8EA5-497A-A14A-36A1DA5B0CD7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81" creationId="{3AD36F48-457A-4406-AE3A-9939C8A44B27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82" creationId="{C5092E28-5200-4575-BA5C-1EA9F1DB4B99}"/>
          </ac:spMkLst>
        </pc:spChg>
        <pc:spChg chg="add mod">
          <ac:chgData name="GHADAB, Amal" userId="9caa7c42-465b-4be4-b66b-eccc70c324a6" providerId="ADAL" clId="{FB78D9B4-BEAD-490D-BDD4-9AACF3AD4F28}" dt="2022-10-27T12:30:24.910" v="252"/>
          <ac:spMkLst>
            <pc:docMk/>
            <pc:sldMk cId="54474262" sldId="2142534179"/>
            <ac:spMk id="83" creationId="{C12F146D-6C2F-43DA-BE71-14080DFCE735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97" creationId="{AB9F556D-B3BC-4D3E-AAFE-88F6C08F9232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98" creationId="{C21C4A84-5D2F-4A05-A257-995E275951CB}"/>
          </ac:spMkLst>
        </pc:spChg>
        <pc:spChg chg="del">
          <ac:chgData name="GHADAB, Amal" userId="9caa7c42-465b-4be4-b66b-eccc70c324a6" providerId="ADAL" clId="{FB78D9B4-BEAD-490D-BDD4-9AACF3AD4F28}" dt="2022-10-27T12:30:17.990" v="251" actId="478"/>
          <ac:spMkLst>
            <pc:docMk/>
            <pc:sldMk cId="54474262" sldId="2142534179"/>
            <ac:spMk id="109" creationId="{5C6BC988-EC43-45AB-BF50-038D2F21F73F}"/>
          </ac:spMkLst>
        </pc:sp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11" creationId="{7067AC48-3E62-4C3F-8D99-61C9D2D55EAB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17" creationId="{89B52B87-2654-4062-9697-BD2351593C9A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19" creationId="{016EE7E4-8BBD-46F3-A6E3-163E01FF9722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31" creationId="{50849CB0-D415-4C81-976E-9D5D88FCF91D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44" creationId="{81107543-22EE-4393-BD06-B81EC24874CC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45" creationId="{5035A93B-9F8F-4DC0-80E9-16864715768E}"/>
          </ac:cxnSpMkLst>
        </pc:cxnChg>
        <pc:cxnChg chg="del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61" creationId="{1C9027F6-BF71-4202-9468-C5FBE2BFBD5E}"/>
          </ac:cxnSpMkLst>
        </pc:cxnChg>
        <pc:cxnChg chg="del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62" creationId="{6FF958B9-E57D-4BF4-971B-F149CF019CC1}"/>
          </ac:cxnSpMkLst>
        </pc:cxnChg>
        <pc:cxnChg chg="del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63" creationId="{8F8FF6FB-0004-41EB-9D2C-5517B2FFDC34}"/>
          </ac:cxnSpMkLst>
        </pc:cxnChg>
        <pc:cxnChg chg="del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64" creationId="{7D536C34-8154-4593-BBFA-F94C12ABE971}"/>
          </ac:cxnSpMkLst>
        </pc:cxnChg>
        <pc:cxnChg chg="del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65" creationId="{531338A4-6984-45C4-987E-9F0FC6120D44}"/>
          </ac:cxnSpMkLst>
        </pc:cxnChg>
        <pc:cxnChg chg="del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66" creationId="{C3CA94A3-5E85-41B8-9AAE-3551524B248F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67" creationId="{2FC4AC55-A091-4F11-B264-EA402FB3CFC5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68" creationId="{4DB7D092-66D4-4FCB-B706-03C925D75AC9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72" creationId="{EA11F631-3C18-4627-AB49-C61AFB464B50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75" creationId="{65A8DDDC-5319-4F3C-98B7-5FC124F09E46}"/>
          </ac:cxnSpMkLst>
        </pc:cxnChg>
        <pc:cxnChg chg="add mod">
          <ac:chgData name="GHADAB, Amal" userId="9caa7c42-465b-4be4-b66b-eccc70c324a6" providerId="ADAL" clId="{FB78D9B4-BEAD-490D-BDD4-9AACF3AD4F28}" dt="2022-10-27T12:30:24.910" v="252"/>
          <ac:cxnSpMkLst>
            <pc:docMk/>
            <pc:sldMk cId="54474262" sldId="2142534179"/>
            <ac:cxnSpMk id="84" creationId="{C286BF7E-7BB9-4F72-A22C-13BF41D1185B}"/>
          </ac:cxnSpMkLst>
        </pc:cxnChg>
        <pc:cxnChg chg="add mod">
          <ac:chgData name="GHADAB, Amal" userId="9caa7c42-465b-4be4-b66b-eccc70c324a6" providerId="ADAL" clId="{FB78D9B4-BEAD-490D-BDD4-9AACF3AD4F28}" dt="2022-10-27T12:30:24.910" v="252"/>
          <ac:cxnSpMkLst>
            <pc:docMk/>
            <pc:sldMk cId="54474262" sldId="2142534179"/>
            <ac:cxnSpMk id="85" creationId="{594A0FB9-C4BC-4106-AB24-C8B5C22D55A9}"/>
          </ac:cxnSpMkLst>
        </pc:cxnChg>
        <pc:cxnChg chg="del mod">
          <ac:chgData name="GHADAB, Amal" userId="9caa7c42-465b-4be4-b66b-eccc70c324a6" providerId="ADAL" clId="{FB78D9B4-BEAD-490D-BDD4-9AACF3AD4F28}" dt="2022-10-27T12:30:17.990" v="251" actId="478"/>
          <ac:cxnSpMkLst>
            <pc:docMk/>
            <pc:sldMk cId="54474262" sldId="2142534179"/>
            <ac:cxnSpMk id="86" creationId="{426FA69F-E433-4A87-818F-C8055876645A}"/>
          </ac:cxnSpMkLst>
        </pc:cxnChg>
        <pc:cxnChg chg="add mod">
          <ac:chgData name="GHADAB, Amal" userId="9caa7c42-465b-4be4-b66b-eccc70c324a6" providerId="ADAL" clId="{FB78D9B4-BEAD-490D-BDD4-9AACF3AD4F28}" dt="2022-10-27T12:30:24.910" v="252"/>
          <ac:cxnSpMkLst>
            <pc:docMk/>
            <pc:sldMk cId="54474262" sldId="2142534179"/>
            <ac:cxnSpMk id="87" creationId="{FF4E33DE-D325-4272-8E33-7E15E0EBBFF7}"/>
          </ac:cxnSpMkLst>
        </pc:cxnChg>
      </pc:sldChg>
      <pc:sldChg chg="addSp delSp modSp add mod ord">
        <pc:chgData name="GHADAB, Amal" userId="9caa7c42-465b-4be4-b66b-eccc70c324a6" providerId="ADAL" clId="{FB78D9B4-BEAD-490D-BDD4-9AACF3AD4F28}" dt="2022-10-27T13:34:12.404" v="274" actId="14100"/>
        <pc:sldMkLst>
          <pc:docMk/>
          <pc:sldMk cId="542083376" sldId="2142534180"/>
        </pc:sldMkLst>
        <pc:spChg chg="add del mod">
          <ac:chgData name="GHADAB, Amal" userId="9caa7c42-465b-4be4-b66b-eccc70c324a6" providerId="ADAL" clId="{FB78D9B4-BEAD-490D-BDD4-9AACF3AD4F28}" dt="2022-10-27T12:31:06.119" v="262" actId="478"/>
          <ac:spMkLst>
            <pc:docMk/>
            <pc:sldMk cId="542083376" sldId="2142534180"/>
            <ac:spMk id="3" creationId="{39E3E8DF-250C-44D0-8342-8CF5383FF31C}"/>
          </ac:spMkLst>
        </pc:spChg>
        <pc:spChg chg="add del mod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19" creationId="{9C29BCED-4FCC-4805-8D20-337BA15BA498}"/>
          </ac:spMkLst>
        </pc:spChg>
        <pc:spChg chg="add del mod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20" creationId="{0A5D1320-A2B7-4986-AB0E-34C3288971A8}"/>
          </ac:spMkLst>
        </pc:spChg>
        <pc:spChg chg="add mod">
          <ac:chgData name="GHADAB, Amal" userId="9caa7c42-465b-4be4-b66b-eccc70c324a6" providerId="ADAL" clId="{FB78D9B4-BEAD-490D-BDD4-9AACF3AD4F28}" dt="2022-10-27T13:34:12.404" v="274" actId="14100"/>
          <ac:spMkLst>
            <pc:docMk/>
            <pc:sldMk cId="542083376" sldId="2142534180"/>
            <ac:spMk id="24" creationId="{E47BC566-F5FA-4E6F-BFA2-A6CCBA418142}"/>
          </ac:spMkLst>
        </pc:spChg>
        <pc:spChg chg="add del mod">
          <ac:chgData name="GHADAB, Amal" userId="9caa7c42-465b-4be4-b66b-eccc70c324a6" providerId="ADAL" clId="{FB78D9B4-BEAD-490D-BDD4-9AACF3AD4F28}" dt="2022-10-27T13:33:46.097" v="270" actId="478"/>
          <ac:spMkLst>
            <pc:docMk/>
            <pc:sldMk cId="542083376" sldId="2142534180"/>
            <ac:spMk id="25" creationId="{65CFFFDD-EE89-4488-88B8-08AC057EFBE4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52" creationId="{BE0B6153-CD28-443D-93F9-EE428134B4DA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55" creationId="{6823C5FA-70B8-4258-A801-B8CF6DA944F7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69" creationId="{DF9F648A-CB6D-41D1-93EE-AD5BD3961EEA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70" creationId="{91CFC499-8057-490D-B7F0-63E0FA72B682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71" creationId="{3080B02B-C95D-4F4B-943E-56E871D654F8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73" creationId="{F7B46E8B-B8C6-4DFD-8FCA-A1F11D46CC80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74" creationId="{C610420C-B9AF-4210-AE94-4F94725C8269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76" creationId="{8C593B75-2237-49CF-90CA-454F0F866197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77" creationId="{5C55A25F-964B-4D61-B8FC-5575C2A49C1B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78" creationId="{C4C593BF-CAF9-4DC4-8CDC-D02A9F2A3735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79" creationId="{D796AEE5-4AF1-4B63-BDBB-E26EE8F529F0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80" creationId="{BEF54514-8EA5-497A-A14A-36A1DA5B0CD7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81" creationId="{3AD36F48-457A-4406-AE3A-9939C8A44B27}"/>
          </ac:spMkLst>
        </pc:spChg>
        <pc:spChg chg="del">
          <ac:chgData name="GHADAB, Amal" userId="9caa7c42-465b-4be4-b66b-eccc70c324a6" providerId="ADAL" clId="{FB78D9B4-BEAD-490D-BDD4-9AACF3AD4F28}" dt="2022-10-27T12:31:02.458" v="259" actId="478"/>
          <ac:spMkLst>
            <pc:docMk/>
            <pc:sldMk cId="542083376" sldId="2142534180"/>
            <ac:spMk id="83" creationId="{C12F146D-6C2F-43DA-BE71-14080DFCE735}"/>
          </ac:spMkLst>
        </pc:spChg>
        <pc:picChg chg="add del mod">
          <ac:chgData name="GHADAB, Amal" userId="9caa7c42-465b-4be4-b66b-eccc70c324a6" providerId="ADAL" clId="{FB78D9B4-BEAD-490D-BDD4-9AACF3AD4F28}" dt="2022-10-27T12:31:02.458" v="259" actId="478"/>
          <ac:picMkLst>
            <pc:docMk/>
            <pc:sldMk cId="542083376" sldId="2142534180"/>
            <ac:picMk id="21" creationId="{515E3766-3DE2-4BFB-A12A-8ECE73464E2A}"/>
          </ac:picMkLst>
        </pc:picChg>
        <pc:picChg chg="add mod modCrop">
          <ac:chgData name="GHADAB, Amal" userId="9caa7c42-465b-4be4-b66b-eccc70c324a6" providerId="ADAL" clId="{FB78D9B4-BEAD-490D-BDD4-9AACF3AD4F28}" dt="2022-10-27T12:32:05.710" v="269" actId="1076"/>
          <ac:picMkLst>
            <pc:docMk/>
            <pc:sldMk cId="542083376" sldId="2142534180"/>
            <ac:picMk id="26" creationId="{260B0A9F-4AC2-49A2-BACF-B4078C54DA68}"/>
          </ac:picMkLst>
        </pc:picChg>
        <pc:cxnChg chg="del mod">
          <ac:chgData name="GHADAB, Amal" userId="9caa7c42-465b-4be4-b66b-eccc70c324a6" providerId="ADAL" clId="{FB78D9B4-BEAD-490D-BDD4-9AACF3AD4F28}" dt="2022-10-27T12:31:02.458" v="259" actId="478"/>
          <ac:cxnSpMkLst>
            <pc:docMk/>
            <pc:sldMk cId="542083376" sldId="2142534180"/>
            <ac:cxnSpMk id="84" creationId="{C286BF7E-7BB9-4F72-A22C-13BF41D1185B}"/>
          </ac:cxnSpMkLst>
        </pc:cxnChg>
        <pc:cxnChg chg="del">
          <ac:chgData name="GHADAB, Amal" userId="9caa7c42-465b-4be4-b66b-eccc70c324a6" providerId="ADAL" clId="{FB78D9B4-BEAD-490D-BDD4-9AACF3AD4F28}" dt="2022-10-27T12:31:02.458" v="259" actId="478"/>
          <ac:cxnSpMkLst>
            <pc:docMk/>
            <pc:sldMk cId="542083376" sldId="2142534180"/>
            <ac:cxnSpMk id="85" creationId="{594A0FB9-C4BC-4106-AB24-C8B5C22D55A9}"/>
          </ac:cxnSpMkLst>
        </pc:cxnChg>
        <pc:cxnChg chg="del mod">
          <ac:chgData name="GHADAB, Amal" userId="9caa7c42-465b-4be4-b66b-eccc70c324a6" providerId="ADAL" clId="{FB78D9B4-BEAD-490D-BDD4-9AACF3AD4F28}" dt="2022-10-27T12:31:02.458" v="259" actId="478"/>
          <ac:cxnSpMkLst>
            <pc:docMk/>
            <pc:sldMk cId="542083376" sldId="2142534180"/>
            <ac:cxnSpMk id="87" creationId="{FF4E33DE-D325-4272-8E33-7E15E0EBBFF7}"/>
          </ac:cxnSpMkLst>
        </pc:cxnChg>
      </pc:sldChg>
      <pc:sldMasterChg chg="delSldLayout">
        <pc:chgData name="GHADAB, Amal" userId="9caa7c42-465b-4be4-b66b-eccc70c324a6" providerId="ADAL" clId="{FB78D9B4-BEAD-490D-BDD4-9AACF3AD4F28}" dt="2022-10-27T12:31:13.224" v="264" actId="47"/>
        <pc:sldMasterMkLst>
          <pc:docMk/>
          <pc:sldMasterMk cId="20593485" sldId="2147483707"/>
        </pc:sldMasterMkLst>
        <pc:sldLayoutChg chg="del">
          <pc:chgData name="GHADAB, Amal" userId="9caa7c42-465b-4be4-b66b-eccc70c324a6" providerId="ADAL" clId="{FB78D9B4-BEAD-490D-BDD4-9AACF3AD4F28}" dt="2022-10-27T12:31:13.224" v="264" actId="47"/>
          <pc:sldLayoutMkLst>
            <pc:docMk/>
            <pc:sldMasterMk cId="20593485" sldId="2147483707"/>
            <pc:sldLayoutMk cId="1622426714" sldId="2147483719"/>
          </pc:sldLayoutMkLst>
        </pc:sldLayoutChg>
      </pc:sldMasterChg>
    </pc:docChg>
  </pc:docChgLst>
  <pc:docChgLst>
    <pc:chgData name="GIFFARD, Arnaud" userId="067366fb-a0b5-4bcb-a523-9086100f3bf9" providerId="ADAL" clId="{5579F27A-CDDD-4766-B846-D6A4FD229E78}"/>
    <pc:docChg chg="addSld modSld">
      <pc:chgData name="GIFFARD, Arnaud" userId="067366fb-a0b5-4bcb-a523-9086100f3bf9" providerId="ADAL" clId="{5579F27A-CDDD-4766-B846-D6A4FD229E78}" dt="2022-11-02T14:29:44.670" v="2" actId="729"/>
      <pc:docMkLst>
        <pc:docMk/>
      </pc:docMkLst>
      <pc:sldChg chg="mod modShow">
        <pc:chgData name="GIFFARD, Arnaud" userId="067366fb-a0b5-4bcb-a523-9086100f3bf9" providerId="ADAL" clId="{5579F27A-CDDD-4766-B846-D6A4FD229E78}" dt="2022-11-02T14:29:44.670" v="2" actId="729"/>
        <pc:sldMkLst>
          <pc:docMk/>
          <pc:sldMk cId="813238321" sldId="2142534054"/>
        </pc:sldMkLst>
      </pc:sldChg>
      <pc:sldChg chg="modSp add mod">
        <pc:chgData name="GIFFARD, Arnaud" userId="067366fb-a0b5-4bcb-a523-9086100f3bf9" providerId="ADAL" clId="{5579F27A-CDDD-4766-B846-D6A4FD229E78}" dt="2022-11-02T14:29:39.716" v="1"/>
        <pc:sldMkLst>
          <pc:docMk/>
          <pc:sldMk cId="187110527" sldId="2142534181"/>
        </pc:sldMkLst>
        <pc:spChg chg="mod">
          <ac:chgData name="GIFFARD, Arnaud" userId="067366fb-a0b5-4bcb-a523-9086100f3bf9" providerId="ADAL" clId="{5579F27A-CDDD-4766-B846-D6A4FD229E78}" dt="2022-11-02T14:29:39.716" v="1"/>
          <ac:spMkLst>
            <pc:docMk/>
            <pc:sldMk cId="187110527" sldId="2142534181"/>
            <ac:spMk id="24" creationId="{7DDDD8E9-C5F9-4E82-BE47-23BF11CD6B4D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F68F024-C180-490F-B5C2-2FF5B445283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E4409DB-319B-4F35-A61C-6148DDB1DEB5}">
      <dgm:prSet phldrT="[Texte]" custT="1"/>
      <dgm:spPr>
        <a:solidFill>
          <a:srgbClr val="860864"/>
        </a:solidFill>
      </dgm:spPr>
      <dgm:t>
        <a:bodyPr/>
        <a:lstStyle/>
        <a:p>
          <a:r>
            <a:rPr lang="fr-FR" sz="13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Prendre connaissance des services disponibles</a:t>
          </a:r>
        </a:p>
      </dgm:t>
    </dgm:pt>
    <dgm:pt modelId="{364F7A72-B8C1-4ABF-B028-8F6AC06C9008}" type="parTrans" cxnId="{75ED6F1E-3364-4B74-8340-1924DCBDAC14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B8076FA-C0A5-4092-A065-6CEB68880C9E}" type="sibTrans" cxnId="{75ED6F1E-3364-4B74-8340-1924DCBDAC14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47DBF0C-8F9D-451A-95F5-BBF0E92D9F1D}">
      <dgm:prSet phldrT="[Texte]" custT="1"/>
      <dgm:spPr>
        <a:solidFill>
          <a:srgbClr val="860864"/>
        </a:solidFill>
      </dgm:spPr>
      <dgm:t>
        <a:bodyPr/>
        <a:lstStyle/>
        <a:p>
          <a:r>
            <a:rPr lang="fr-FR" sz="1300">
              <a:latin typeface="Verdana" panose="020B0604030504040204" pitchFamily="34" charset="0"/>
              <a:ea typeface="Verdana" panose="020B0604030504040204" pitchFamily="34" charset="0"/>
            </a:rPr>
            <a:t>Demander l’accès au HUB</a:t>
          </a:r>
        </a:p>
      </dgm:t>
    </dgm:pt>
    <dgm:pt modelId="{F97C6BA6-9D3A-4749-9849-C7FD6B348C2B}" type="parTrans" cxnId="{9A52FE63-3BB9-4A10-9AE6-0F32086FCFE1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A44F53DC-5EF7-4F52-91CF-9A2FFF9CA69C}" type="sibTrans" cxnId="{9A52FE63-3BB9-4A10-9AE6-0F32086FCFE1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4082B0C4-9FF4-45F8-9D57-2F65FD9B338E}">
      <dgm:prSet phldrT="[Texte]" custT="1"/>
      <dgm:spPr>
        <a:solidFill>
          <a:srgbClr val="860864"/>
        </a:solidFill>
      </dgm:spPr>
      <dgm:t>
        <a:bodyPr/>
        <a:lstStyle/>
        <a:p>
          <a:r>
            <a:rPr lang="fr-FR" sz="1300">
              <a:latin typeface="Verdana" panose="020B0604030504040204" pitchFamily="34" charset="0"/>
              <a:ea typeface="Verdana" panose="020B0604030504040204" pitchFamily="34" charset="0"/>
            </a:rPr>
            <a:t>Prendre connaissance de la spécification de l’API</a:t>
          </a:r>
        </a:p>
      </dgm:t>
    </dgm:pt>
    <dgm:pt modelId="{E18EBBB1-6FE3-4CDB-AFFF-8CB9BA6F218F}" type="parTrans" cxnId="{5364DC52-88D2-4A80-854F-F65DB4CF6908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6CA7EE7A-FB42-454B-981E-2CA6023FBE9D}" type="sibTrans" cxnId="{5364DC52-88D2-4A80-854F-F65DB4CF6908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B9C60CA-3C5C-4DA6-9CAC-CD14C689A9FF}">
      <dgm:prSet phldrT="[Texte]"/>
      <dgm:spPr>
        <a:solidFill>
          <a:srgbClr val="860864"/>
        </a:solidFill>
      </dgm:spPr>
      <dgm:t>
        <a:bodyPr/>
        <a:lstStyle/>
        <a:p>
          <a:r>
            <a:rPr lang="fr-FR">
              <a:latin typeface="Verdana" panose="020B0604030504040204" pitchFamily="34" charset="0"/>
              <a:ea typeface="Verdana" panose="020B0604030504040204" pitchFamily="34" charset="0"/>
            </a:rPr>
            <a:t>Intégration et ouverture des flux d’accès au HUB</a:t>
          </a:r>
        </a:p>
      </dgm:t>
    </dgm:pt>
    <dgm:pt modelId="{F8B80E0B-FC50-40CC-AB97-108C341EF24C}" type="parTrans" cxnId="{7B47E993-D85E-4157-AC02-7124905C0B47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BE4AB5E-2112-4734-89C4-5BD4C0605209}" type="sibTrans" cxnId="{7B47E993-D85E-4157-AC02-7124905C0B47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48022F81-AE7F-458A-A42C-C8E02BE2BE3D}" type="pres">
      <dgm:prSet presAssocID="{9F68F024-C180-490F-B5C2-2FF5B4452832}" presName="Name0" presStyleCnt="0">
        <dgm:presLayoutVars>
          <dgm:dir/>
          <dgm:animLvl val="lvl"/>
          <dgm:resizeHandles val="exact"/>
        </dgm:presLayoutVars>
      </dgm:prSet>
      <dgm:spPr/>
    </dgm:pt>
    <dgm:pt modelId="{8555AC13-79B6-47FA-96D0-5589C9D22AB1}" type="pres">
      <dgm:prSet presAssocID="{7E4409DB-319B-4F35-A61C-6148DDB1DEB5}" presName="parTxOnly" presStyleLbl="node1" presStyleIdx="0" presStyleCnt="4" custScaleX="131944" custScaleY="132484" custLinFactNeighborY="-388">
        <dgm:presLayoutVars>
          <dgm:chMax val="0"/>
          <dgm:chPref val="0"/>
          <dgm:bulletEnabled val="1"/>
        </dgm:presLayoutVars>
      </dgm:prSet>
      <dgm:spPr/>
    </dgm:pt>
    <dgm:pt modelId="{3C76B30D-823C-4691-810A-2BF14193FE6F}" type="pres">
      <dgm:prSet presAssocID="{DB8076FA-C0A5-4092-A065-6CEB68880C9E}" presName="parTxOnlySpace" presStyleCnt="0"/>
      <dgm:spPr/>
    </dgm:pt>
    <dgm:pt modelId="{F8F32FBB-E535-424A-9C06-8101B8BE4C61}" type="pres">
      <dgm:prSet presAssocID="{4082B0C4-9FF4-45F8-9D57-2F65FD9B338E}" presName="parTxOnly" presStyleLbl="node1" presStyleIdx="1" presStyleCnt="4" custScaleX="147443" custScaleY="133910" custLinFactNeighborY="-388">
        <dgm:presLayoutVars>
          <dgm:chMax val="0"/>
          <dgm:chPref val="0"/>
          <dgm:bulletEnabled val="1"/>
        </dgm:presLayoutVars>
      </dgm:prSet>
      <dgm:spPr/>
    </dgm:pt>
    <dgm:pt modelId="{A56AAAD3-DC92-4075-8667-62D4ED39113F}" type="pres">
      <dgm:prSet presAssocID="{6CA7EE7A-FB42-454B-981E-2CA6023FBE9D}" presName="parTxOnlySpace" presStyleCnt="0"/>
      <dgm:spPr/>
    </dgm:pt>
    <dgm:pt modelId="{19470A57-543F-4E17-AEDC-A8EFABFAA300}" type="pres">
      <dgm:prSet presAssocID="{F47DBF0C-8F9D-451A-95F5-BBF0E92D9F1D}" presName="parTxOnly" presStyleLbl="node1" presStyleIdx="2" presStyleCnt="4" custScaleX="131944" custScaleY="132484" custLinFactNeighborY="-388">
        <dgm:presLayoutVars>
          <dgm:chMax val="0"/>
          <dgm:chPref val="0"/>
          <dgm:bulletEnabled val="1"/>
        </dgm:presLayoutVars>
      </dgm:prSet>
      <dgm:spPr/>
    </dgm:pt>
    <dgm:pt modelId="{72C699CF-CF01-4BF0-BFFD-A09FA0EF07EF}" type="pres">
      <dgm:prSet presAssocID="{A44F53DC-5EF7-4F52-91CF-9A2FFF9CA69C}" presName="parTxOnlySpace" presStyleCnt="0"/>
      <dgm:spPr/>
    </dgm:pt>
    <dgm:pt modelId="{BDC8B077-FC2B-4C1C-BB50-D268A30D2D96}" type="pres">
      <dgm:prSet presAssocID="{5B9C60CA-3C5C-4DA6-9CAC-CD14C689A9FF}" presName="parTxOnly" presStyleLbl="node1" presStyleIdx="3" presStyleCnt="4" custScaleX="131944" custScaleY="132484" custLinFactNeighborY="-388">
        <dgm:presLayoutVars>
          <dgm:chMax val="0"/>
          <dgm:chPref val="0"/>
          <dgm:bulletEnabled val="1"/>
        </dgm:presLayoutVars>
      </dgm:prSet>
      <dgm:spPr/>
    </dgm:pt>
  </dgm:ptLst>
  <dgm:cxnLst>
    <dgm:cxn modelId="{75ED6F1E-3364-4B74-8340-1924DCBDAC14}" srcId="{9F68F024-C180-490F-B5C2-2FF5B4452832}" destId="{7E4409DB-319B-4F35-A61C-6148DDB1DEB5}" srcOrd="0" destOrd="0" parTransId="{364F7A72-B8C1-4ABF-B028-8F6AC06C9008}" sibTransId="{DB8076FA-C0A5-4092-A065-6CEB68880C9E}"/>
    <dgm:cxn modelId="{CD7BCC2B-BE76-4FC8-8B60-1195C7C5EC99}" type="presOf" srcId="{5B9C60CA-3C5C-4DA6-9CAC-CD14C689A9FF}" destId="{BDC8B077-FC2B-4C1C-BB50-D268A30D2D96}" srcOrd="0" destOrd="0" presId="urn:microsoft.com/office/officeart/2005/8/layout/chevron1"/>
    <dgm:cxn modelId="{9A52FE63-3BB9-4A10-9AE6-0F32086FCFE1}" srcId="{9F68F024-C180-490F-B5C2-2FF5B4452832}" destId="{F47DBF0C-8F9D-451A-95F5-BBF0E92D9F1D}" srcOrd="2" destOrd="0" parTransId="{F97C6BA6-9D3A-4749-9849-C7FD6B348C2B}" sibTransId="{A44F53DC-5EF7-4F52-91CF-9A2FFF9CA69C}"/>
    <dgm:cxn modelId="{B6940846-78A4-4986-97EA-E2A2BB036581}" type="presOf" srcId="{4082B0C4-9FF4-45F8-9D57-2F65FD9B338E}" destId="{F8F32FBB-E535-424A-9C06-8101B8BE4C61}" srcOrd="0" destOrd="0" presId="urn:microsoft.com/office/officeart/2005/8/layout/chevron1"/>
    <dgm:cxn modelId="{5364DC52-88D2-4A80-854F-F65DB4CF6908}" srcId="{9F68F024-C180-490F-B5C2-2FF5B4452832}" destId="{4082B0C4-9FF4-45F8-9D57-2F65FD9B338E}" srcOrd="1" destOrd="0" parTransId="{E18EBBB1-6FE3-4CDB-AFFF-8CB9BA6F218F}" sibTransId="{6CA7EE7A-FB42-454B-981E-2CA6023FBE9D}"/>
    <dgm:cxn modelId="{7B47E993-D85E-4157-AC02-7124905C0B47}" srcId="{9F68F024-C180-490F-B5C2-2FF5B4452832}" destId="{5B9C60CA-3C5C-4DA6-9CAC-CD14C689A9FF}" srcOrd="3" destOrd="0" parTransId="{F8B80E0B-FC50-40CC-AB97-108C341EF24C}" sibTransId="{FBE4AB5E-2112-4734-89C4-5BD4C0605209}"/>
    <dgm:cxn modelId="{504AC2C9-457D-4150-A8E1-B16B46408312}" type="presOf" srcId="{7E4409DB-319B-4F35-A61C-6148DDB1DEB5}" destId="{8555AC13-79B6-47FA-96D0-5589C9D22AB1}" srcOrd="0" destOrd="0" presId="urn:microsoft.com/office/officeart/2005/8/layout/chevron1"/>
    <dgm:cxn modelId="{0D9966EF-3401-4FE5-9877-B4E197E481C2}" type="presOf" srcId="{F47DBF0C-8F9D-451A-95F5-BBF0E92D9F1D}" destId="{19470A57-543F-4E17-AEDC-A8EFABFAA300}" srcOrd="0" destOrd="0" presId="urn:microsoft.com/office/officeart/2005/8/layout/chevron1"/>
    <dgm:cxn modelId="{8D4C10F2-0942-48A7-8BCB-72E35D4876A2}" type="presOf" srcId="{9F68F024-C180-490F-B5C2-2FF5B4452832}" destId="{48022F81-AE7F-458A-A42C-C8E02BE2BE3D}" srcOrd="0" destOrd="0" presId="urn:microsoft.com/office/officeart/2005/8/layout/chevron1"/>
    <dgm:cxn modelId="{BC128676-D9EA-46FC-8C83-7483877153C4}" type="presParOf" srcId="{48022F81-AE7F-458A-A42C-C8E02BE2BE3D}" destId="{8555AC13-79B6-47FA-96D0-5589C9D22AB1}" srcOrd="0" destOrd="0" presId="urn:microsoft.com/office/officeart/2005/8/layout/chevron1"/>
    <dgm:cxn modelId="{B190394F-3AED-4115-B336-D545496FB5D8}" type="presParOf" srcId="{48022F81-AE7F-458A-A42C-C8E02BE2BE3D}" destId="{3C76B30D-823C-4691-810A-2BF14193FE6F}" srcOrd="1" destOrd="0" presId="urn:microsoft.com/office/officeart/2005/8/layout/chevron1"/>
    <dgm:cxn modelId="{FF2D15D3-556E-416D-B2E2-89C2D33A8B99}" type="presParOf" srcId="{48022F81-AE7F-458A-A42C-C8E02BE2BE3D}" destId="{F8F32FBB-E535-424A-9C06-8101B8BE4C61}" srcOrd="2" destOrd="0" presId="urn:microsoft.com/office/officeart/2005/8/layout/chevron1"/>
    <dgm:cxn modelId="{CAA0A9AE-207D-4754-B514-40A5ABEF2184}" type="presParOf" srcId="{48022F81-AE7F-458A-A42C-C8E02BE2BE3D}" destId="{A56AAAD3-DC92-4075-8667-62D4ED39113F}" srcOrd="3" destOrd="0" presId="urn:microsoft.com/office/officeart/2005/8/layout/chevron1"/>
    <dgm:cxn modelId="{0E8756C8-EA90-4F82-8658-2D160ADFA918}" type="presParOf" srcId="{48022F81-AE7F-458A-A42C-C8E02BE2BE3D}" destId="{19470A57-543F-4E17-AEDC-A8EFABFAA300}" srcOrd="4" destOrd="0" presId="urn:microsoft.com/office/officeart/2005/8/layout/chevron1"/>
    <dgm:cxn modelId="{8C3B34C8-C929-426B-87F8-A1DA69C72BC7}" type="presParOf" srcId="{48022F81-AE7F-458A-A42C-C8E02BE2BE3D}" destId="{72C699CF-CF01-4BF0-BFFD-A09FA0EF07EF}" srcOrd="5" destOrd="0" presId="urn:microsoft.com/office/officeart/2005/8/layout/chevron1"/>
    <dgm:cxn modelId="{E364C41E-AE8B-499B-A72A-9747158C964D}" type="presParOf" srcId="{48022F81-AE7F-458A-A42C-C8E02BE2BE3D}" destId="{BDC8B077-FC2B-4C1C-BB50-D268A30D2D96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F68F024-C180-490F-B5C2-2FF5B445283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632ADB4-E0A9-4A84-B8FE-76225AAE3852}">
      <dgm:prSet phldrT="[Texte]"/>
      <dgm:spPr>
        <a:solidFill>
          <a:srgbClr val="0F999C"/>
        </a:solidFill>
      </dgm:spPr>
      <dgm:t>
        <a:bodyPr/>
        <a:lstStyle/>
        <a:p>
          <a:r>
            <a:rPr lang="fr-FR">
              <a:latin typeface="Verdana" panose="020B0604030504040204" pitchFamily="34" charset="0"/>
              <a:ea typeface="Verdana" panose="020B0604030504040204" pitchFamily="34" charset="0"/>
            </a:rPr>
            <a:t>Découvrir les services</a:t>
          </a:r>
        </a:p>
      </dgm:t>
    </dgm:pt>
    <dgm:pt modelId="{D50B23F9-9733-445B-BAFE-416B891277BE}" type="parTrans" cxnId="{7B176C02-0B63-465A-91A4-36C8AF8AEADD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C7F5C56F-78CD-41B7-9F89-823E674F9BF5}" type="sibTrans" cxnId="{7B176C02-0B63-465A-91A4-36C8AF8AEADD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841E3811-9334-46E5-A965-A51D1E7E5FF2}">
      <dgm:prSet phldrT="[Texte]"/>
      <dgm:spPr>
        <a:solidFill>
          <a:srgbClr val="0F999C"/>
        </a:solidFill>
      </dgm:spPr>
      <dgm:t>
        <a:bodyPr/>
        <a:lstStyle/>
        <a:p>
          <a:r>
            <a:rPr lang="fr-FR">
              <a:latin typeface="Verdana" panose="020B0604030504040204" pitchFamily="34" charset="0"/>
              <a:ea typeface="Verdana" panose="020B0604030504040204" pitchFamily="34" charset="0"/>
            </a:rPr>
            <a:t>Lister les services / fonctionnalités MSP disponibles</a:t>
          </a:r>
        </a:p>
      </dgm:t>
    </dgm:pt>
    <dgm:pt modelId="{3DD41D86-25A6-45D0-A4FB-B0DE255F3BBC}" type="parTrans" cxnId="{E3169386-CC26-42A3-A8BC-5ADC38C7D5CF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75A85F7-31C3-40FD-B67A-C4BD1C7F642F}" type="sibTrans" cxnId="{E3169386-CC26-42A3-A8BC-5ADC38C7D5CF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E4409DB-319B-4F35-A61C-6148DDB1DEB5}">
      <dgm:prSet phldrT="[Texte]"/>
      <dgm:spPr>
        <a:solidFill>
          <a:srgbClr val="0F999C"/>
        </a:solidFill>
      </dgm:spPr>
      <dgm:t>
        <a:bodyPr/>
        <a:lstStyle/>
        <a:p>
          <a:r>
            <a:rPr lang="fr-FR">
              <a:latin typeface="Verdana" panose="020B0604030504040204" pitchFamily="34" charset="0"/>
              <a:ea typeface="Verdana" panose="020B0604030504040204" pitchFamily="34" charset="0"/>
            </a:rPr>
            <a:t>Choisir les MSPs à utiliser</a:t>
          </a:r>
        </a:p>
      </dgm:t>
    </dgm:pt>
    <dgm:pt modelId="{364F7A72-B8C1-4ABF-B028-8F6AC06C9008}" type="parTrans" cxnId="{75ED6F1E-3364-4B74-8340-1924DCBDAC14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B8076FA-C0A5-4092-A065-6CEB68880C9E}" type="sibTrans" cxnId="{75ED6F1E-3364-4B74-8340-1924DCBDAC14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1A29F86-40F8-46BB-9691-B3E9C2D9610E}">
      <dgm:prSet phldrT="[Texte]"/>
      <dgm:spPr>
        <a:solidFill>
          <a:srgbClr val="12ABDB"/>
        </a:solidFill>
      </dgm:spPr>
      <dgm:t>
        <a:bodyPr/>
        <a:lstStyle/>
        <a:p>
          <a:r>
            <a:rPr lang="fr-FR">
              <a:latin typeface="Verdana" panose="020B0604030504040204" pitchFamily="34" charset="0"/>
              <a:ea typeface="Verdana" panose="020B0604030504040204" pitchFamily="34" charset="0"/>
            </a:rPr>
            <a:t>Utiliser les services MSPs via le HUB</a:t>
          </a:r>
        </a:p>
      </dgm:t>
    </dgm:pt>
    <dgm:pt modelId="{1A2DFA1E-B7FD-449C-9CFD-C82E42A1C059}" type="parTrans" cxnId="{BCD0410D-CF81-4993-BF9E-B886A4A1A4EB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486B1D9-3482-45F1-8963-3A8D6200C09B}" type="sibTrans" cxnId="{BCD0410D-CF81-4993-BF9E-B886A4A1A4EB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48022F81-AE7F-458A-A42C-C8E02BE2BE3D}" type="pres">
      <dgm:prSet presAssocID="{9F68F024-C180-490F-B5C2-2FF5B4452832}" presName="Name0" presStyleCnt="0">
        <dgm:presLayoutVars>
          <dgm:dir/>
          <dgm:animLvl val="lvl"/>
          <dgm:resizeHandles val="exact"/>
        </dgm:presLayoutVars>
      </dgm:prSet>
      <dgm:spPr/>
    </dgm:pt>
    <dgm:pt modelId="{07AE9833-C339-49EC-8687-80F47D476D88}" type="pres">
      <dgm:prSet presAssocID="{D632ADB4-E0A9-4A84-B8FE-76225AAE3852}" presName="parTxOnly" presStyleLbl="node1" presStyleIdx="0" presStyleCnt="4" custScaleY="88548">
        <dgm:presLayoutVars>
          <dgm:chMax val="0"/>
          <dgm:chPref val="0"/>
          <dgm:bulletEnabled val="1"/>
        </dgm:presLayoutVars>
      </dgm:prSet>
      <dgm:spPr/>
    </dgm:pt>
    <dgm:pt modelId="{4304F54D-EEF9-467B-90AB-061BE09EFA1B}" type="pres">
      <dgm:prSet presAssocID="{C7F5C56F-78CD-41B7-9F89-823E674F9BF5}" presName="parTxOnlySpace" presStyleCnt="0"/>
      <dgm:spPr/>
    </dgm:pt>
    <dgm:pt modelId="{7BD2B4AB-1462-47FE-AABC-90A7DEA8B06D}" type="pres">
      <dgm:prSet presAssocID="{841E3811-9334-46E5-A965-A51D1E7E5FF2}" presName="parTxOnly" presStyleLbl="node1" presStyleIdx="1" presStyleCnt="4" custScaleY="88548" custLinFactNeighborY="-388">
        <dgm:presLayoutVars>
          <dgm:chMax val="0"/>
          <dgm:chPref val="0"/>
          <dgm:bulletEnabled val="1"/>
        </dgm:presLayoutVars>
      </dgm:prSet>
      <dgm:spPr/>
    </dgm:pt>
    <dgm:pt modelId="{6C2706B7-7477-4139-B040-BFDDDDEF7CED}" type="pres">
      <dgm:prSet presAssocID="{F75A85F7-31C3-40FD-B67A-C4BD1C7F642F}" presName="parTxOnlySpace" presStyleCnt="0"/>
      <dgm:spPr/>
    </dgm:pt>
    <dgm:pt modelId="{8555AC13-79B6-47FA-96D0-5589C9D22AB1}" type="pres">
      <dgm:prSet presAssocID="{7E4409DB-319B-4F35-A61C-6148DDB1DEB5}" presName="parTxOnly" presStyleLbl="node1" presStyleIdx="2" presStyleCnt="4" custScaleY="88548" custLinFactNeighborY="-388">
        <dgm:presLayoutVars>
          <dgm:chMax val="0"/>
          <dgm:chPref val="0"/>
          <dgm:bulletEnabled val="1"/>
        </dgm:presLayoutVars>
      </dgm:prSet>
      <dgm:spPr/>
    </dgm:pt>
    <dgm:pt modelId="{3C76B30D-823C-4691-810A-2BF14193FE6F}" type="pres">
      <dgm:prSet presAssocID="{DB8076FA-C0A5-4092-A065-6CEB68880C9E}" presName="parTxOnlySpace" presStyleCnt="0"/>
      <dgm:spPr/>
    </dgm:pt>
    <dgm:pt modelId="{0D710995-F668-43AC-8F32-8B731330C9CC}" type="pres">
      <dgm:prSet presAssocID="{91A29F86-40F8-46BB-9691-B3E9C2D9610E}" presName="parTxOnly" presStyleLbl="node1" presStyleIdx="3" presStyleCnt="4" custScaleY="88548">
        <dgm:presLayoutVars>
          <dgm:chMax val="0"/>
          <dgm:chPref val="0"/>
          <dgm:bulletEnabled val="1"/>
        </dgm:presLayoutVars>
      </dgm:prSet>
      <dgm:spPr/>
    </dgm:pt>
  </dgm:ptLst>
  <dgm:cxnLst>
    <dgm:cxn modelId="{7B176C02-0B63-465A-91A4-36C8AF8AEADD}" srcId="{9F68F024-C180-490F-B5C2-2FF5B4452832}" destId="{D632ADB4-E0A9-4A84-B8FE-76225AAE3852}" srcOrd="0" destOrd="0" parTransId="{D50B23F9-9733-445B-BAFE-416B891277BE}" sibTransId="{C7F5C56F-78CD-41B7-9F89-823E674F9BF5}"/>
    <dgm:cxn modelId="{BCD0410D-CF81-4993-BF9E-B886A4A1A4EB}" srcId="{9F68F024-C180-490F-B5C2-2FF5B4452832}" destId="{91A29F86-40F8-46BB-9691-B3E9C2D9610E}" srcOrd="3" destOrd="0" parTransId="{1A2DFA1E-B7FD-449C-9CFD-C82E42A1C059}" sibTransId="{F486B1D9-3482-45F1-8963-3A8D6200C09B}"/>
    <dgm:cxn modelId="{75ED6F1E-3364-4B74-8340-1924DCBDAC14}" srcId="{9F68F024-C180-490F-B5C2-2FF5B4452832}" destId="{7E4409DB-319B-4F35-A61C-6148DDB1DEB5}" srcOrd="2" destOrd="0" parTransId="{364F7A72-B8C1-4ABF-B028-8F6AC06C9008}" sibTransId="{DB8076FA-C0A5-4092-A065-6CEB68880C9E}"/>
    <dgm:cxn modelId="{BFB7FA33-D299-4047-BB0D-D0E049A0EBED}" type="presOf" srcId="{D632ADB4-E0A9-4A84-B8FE-76225AAE3852}" destId="{07AE9833-C339-49EC-8687-80F47D476D88}" srcOrd="0" destOrd="0" presId="urn:microsoft.com/office/officeart/2005/8/layout/chevron1"/>
    <dgm:cxn modelId="{7B2D3C5B-B418-4558-8D1D-A0DCFDE0E81A}" type="presOf" srcId="{91A29F86-40F8-46BB-9691-B3E9C2D9610E}" destId="{0D710995-F668-43AC-8F32-8B731330C9CC}" srcOrd="0" destOrd="0" presId="urn:microsoft.com/office/officeart/2005/8/layout/chevron1"/>
    <dgm:cxn modelId="{E3169386-CC26-42A3-A8BC-5ADC38C7D5CF}" srcId="{9F68F024-C180-490F-B5C2-2FF5B4452832}" destId="{841E3811-9334-46E5-A965-A51D1E7E5FF2}" srcOrd="1" destOrd="0" parTransId="{3DD41D86-25A6-45D0-A4FB-B0DE255F3BBC}" sibTransId="{F75A85F7-31C3-40FD-B67A-C4BD1C7F642F}"/>
    <dgm:cxn modelId="{504AC2C9-457D-4150-A8E1-B16B46408312}" type="presOf" srcId="{7E4409DB-319B-4F35-A61C-6148DDB1DEB5}" destId="{8555AC13-79B6-47FA-96D0-5589C9D22AB1}" srcOrd="0" destOrd="0" presId="urn:microsoft.com/office/officeart/2005/8/layout/chevron1"/>
    <dgm:cxn modelId="{8538A1D8-2B38-439B-83D8-063C18DBB222}" type="presOf" srcId="{841E3811-9334-46E5-A965-A51D1E7E5FF2}" destId="{7BD2B4AB-1462-47FE-AABC-90A7DEA8B06D}" srcOrd="0" destOrd="0" presId="urn:microsoft.com/office/officeart/2005/8/layout/chevron1"/>
    <dgm:cxn modelId="{8D4C10F2-0942-48A7-8BCB-72E35D4876A2}" type="presOf" srcId="{9F68F024-C180-490F-B5C2-2FF5B4452832}" destId="{48022F81-AE7F-458A-A42C-C8E02BE2BE3D}" srcOrd="0" destOrd="0" presId="urn:microsoft.com/office/officeart/2005/8/layout/chevron1"/>
    <dgm:cxn modelId="{5F71C80C-A142-451E-BF88-2A907D9BFEF0}" type="presParOf" srcId="{48022F81-AE7F-458A-A42C-C8E02BE2BE3D}" destId="{07AE9833-C339-49EC-8687-80F47D476D88}" srcOrd="0" destOrd="0" presId="urn:microsoft.com/office/officeart/2005/8/layout/chevron1"/>
    <dgm:cxn modelId="{93A18478-F572-4458-B7E1-D6A1A358348A}" type="presParOf" srcId="{48022F81-AE7F-458A-A42C-C8E02BE2BE3D}" destId="{4304F54D-EEF9-467B-90AB-061BE09EFA1B}" srcOrd="1" destOrd="0" presId="urn:microsoft.com/office/officeart/2005/8/layout/chevron1"/>
    <dgm:cxn modelId="{6AF593DF-E950-488C-A9B9-265813EF86B5}" type="presParOf" srcId="{48022F81-AE7F-458A-A42C-C8E02BE2BE3D}" destId="{7BD2B4AB-1462-47FE-AABC-90A7DEA8B06D}" srcOrd="2" destOrd="0" presId="urn:microsoft.com/office/officeart/2005/8/layout/chevron1"/>
    <dgm:cxn modelId="{74370553-0F4F-4D12-8A9C-F663E3D048BA}" type="presParOf" srcId="{48022F81-AE7F-458A-A42C-C8E02BE2BE3D}" destId="{6C2706B7-7477-4139-B040-BFDDDDEF7CED}" srcOrd="3" destOrd="0" presId="urn:microsoft.com/office/officeart/2005/8/layout/chevron1"/>
    <dgm:cxn modelId="{BC128676-D9EA-46FC-8C83-7483877153C4}" type="presParOf" srcId="{48022F81-AE7F-458A-A42C-C8E02BE2BE3D}" destId="{8555AC13-79B6-47FA-96D0-5589C9D22AB1}" srcOrd="4" destOrd="0" presId="urn:microsoft.com/office/officeart/2005/8/layout/chevron1"/>
    <dgm:cxn modelId="{B190394F-3AED-4115-B336-D545496FB5D8}" type="presParOf" srcId="{48022F81-AE7F-458A-A42C-C8E02BE2BE3D}" destId="{3C76B30D-823C-4691-810A-2BF14193FE6F}" srcOrd="5" destOrd="0" presId="urn:microsoft.com/office/officeart/2005/8/layout/chevron1"/>
    <dgm:cxn modelId="{ACDA2972-523B-41FC-8D97-723EF239E8FD}" type="presParOf" srcId="{48022F81-AE7F-458A-A42C-C8E02BE2BE3D}" destId="{0D710995-F668-43AC-8F32-8B731330C9CC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F68F024-C180-490F-B5C2-2FF5B445283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E4409DB-319B-4F35-A61C-6148DDB1DEB5}">
      <dgm:prSet phldrT="[Texte]" custT="1"/>
      <dgm:spPr>
        <a:solidFill>
          <a:srgbClr val="860864"/>
        </a:solidFill>
      </dgm:spPr>
      <dgm:t>
        <a:bodyPr/>
        <a:lstStyle/>
        <a:p>
          <a:pPr rtl="0"/>
          <a:r>
            <a:rPr lang="fr-FR" sz="1300">
              <a:solidFill>
                <a:schemeClr val="bg1"/>
              </a:solidFill>
              <a:latin typeface="Verdana"/>
              <a:ea typeface="Verdana"/>
            </a:rPr>
            <a:t>Prendre contact et établir un accord d’accès avec le MSP</a:t>
          </a:r>
        </a:p>
      </dgm:t>
    </dgm:pt>
    <dgm:pt modelId="{364F7A72-B8C1-4ABF-B028-8F6AC06C9008}" type="parTrans" cxnId="{75ED6F1E-3364-4B74-8340-1924DCBDAC14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B8076FA-C0A5-4092-A065-6CEB68880C9E}" type="sibTrans" cxnId="{75ED6F1E-3364-4B74-8340-1924DCBDAC14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47DBF0C-8F9D-451A-95F5-BBF0E92D9F1D}">
      <dgm:prSet phldrT="[Texte]" custT="1"/>
      <dgm:spPr>
        <a:solidFill>
          <a:srgbClr val="860864"/>
        </a:solidFill>
      </dgm:spPr>
      <dgm:t>
        <a:bodyPr/>
        <a:lstStyle/>
        <a:p>
          <a:r>
            <a:rPr lang="fr-FR" sz="1300" kern="1200">
              <a:solidFill>
                <a:prstClr val="white"/>
              </a:solidFill>
              <a:latin typeface="Verdana"/>
              <a:ea typeface="Verdana"/>
              <a:cs typeface="+mn-cs"/>
            </a:rPr>
            <a:t>Configurer l’accès au MSP</a:t>
          </a:r>
        </a:p>
      </dgm:t>
    </dgm:pt>
    <dgm:pt modelId="{F97C6BA6-9D3A-4749-9849-C7FD6B348C2B}" type="parTrans" cxnId="{9A52FE63-3BB9-4A10-9AE6-0F32086FCFE1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A44F53DC-5EF7-4F52-91CF-9A2FFF9CA69C}" type="sibTrans" cxnId="{9A52FE63-3BB9-4A10-9AE6-0F32086FCFE1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4082B0C4-9FF4-45F8-9D57-2F65FD9B338E}">
      <dgm:prSet phldrT="[Texte]" custT="1"/>
      <dgm:spPr>
        <a:solidFill>
          <a:srgbClr val="860864"/>
        </a:solidFill>
      </dgm:spPr>
      <dgm:t>
        <a:bodyPr/>
        <a:lstStyle/>
        <a:p>
          <a:r>
            <a:rPr lang="fr-FR" sz="1300">
              <a:latin typeface="Verdana"/>
              <a:ea typeface="Verdana"/>
            </a:rPr>
            <a:t>Vérifier la spécification de l’API standard du MSP</a:t>
          </a:r>
        </a:p>
      </dgm:t>
    </dgm:pt>
    <dgm:pt modelId="{E18EBBB1-6FE3-4CDB-AFFF-8CB9BA6F218F}" type="parTrans" cxnId="{5364DC52-88D2-4A80-854F-F65DB4CF6908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6CA7EE7A-FB42-454B-981E-2CA6023FBE9D}" type="sibTrans" cxnId="{5364DC52-88D2-4A80-854F-F65DB4CF6908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B9C60CA-3C5C-4DA6-9CAC-CD14C689A9FF}">
      <dgm:prSet phldrT="[Texte]" custT="1"/>
      <dgm:spPr>
        <a:solidFill>
          <a:srgbClr val="860864"/>
        </a:solidFill>
      </dgm:spPr>
      <dgm:t>
        <a:bodyPr/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solidFill>
                <a:prstClr val="white"/>
              </a:solidFill>
              <a:latin typeface="Verdana"/>
              <a:ea typeface="Verdana"/>
              <a:cs typeface="+mn-cs"/>
            </a:rPr>
            <a:t>Ouvrir les flux vers le MSP</a:t>
          </a:r>
        </a:p>
      </dgm:t>
    </dgm:pt>
    <dgm:pt modelId="{F8B80E0B-FC50-40CC-AB97-108C341EF24C}" type="parTrans" cxnId="{7B47E993-D85E-4157-AC02-7124905C0B47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BE4AB5E-2112-4734-89C4-5BD4C0605209}" type="sibTrans" cxnId="{7B47E993-D85E-4157-AC02-7124905C0B47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48022F81-AE7F-458A-A42C-C8E02BE2BE3D}" type="pres">
      <dgm:prSet presAssocID="{9F68F024-C180-490F-B5C2-2FF5B4452832}" presName="Name0" presStyleCnt="0">
        <dgm:presLayoutVars>
          <dgm:dir/>
          <dgm:animLvl val="lvl"/>
          <dgm:resizeHandles val="exact"/>
        </dgm:presLayoutVars>
      </dgm:prSet>
      <dgm:spPr/>
    </dgm:pt>
    <dgm:pt modelId="{DE36CCFF-A983-4111-88B8-CC2491FE800B}" type="pres">
      <dgm:prSet presAssocID="{7E4409DB-319B-4F35-A61C-6148DDB1DEB5}" presName="parTxOnly" presStyleLbl="node1" presStyleIdx="0" presStyleCnt="4" custScaleX="118390">
        <dgm:presLayoutVars>
          <dgm:chMax val="0"/>
          <dgm:chPref val="0"/>
          <dgm:bulletEnabled val="1"/>
        </dgm:presLayoutVars>
      </dgm:prSet>
      <dgm:spPr/>
    </dgm:pt>
    <dgm:pt modelId="{6DE86B10-D471-4782-983A-DE78F6F2D54A}" type="pres">
      <dgm:prSet presAssocID="{DB8076FA-C0A5-4092-A065-6CEB68880C9E}" presName="parTxOnlySpace" presStyleCnt="0"/>
      <dgm:spPr/>
    </dgm:pt>
    <dgm:pt modelId="{C5D9647C-DE65-4D2C-9217-419A28E8B04F}" type="pres">
      <dgm:prSet presAssocID="{4082B0C4-9FF4-45F8-9D57-2F65FD9B338E}" presName="parTxOnly" presStyleLbl="node1" presStyleIdx="1" presStyleCnt="4" custScaleX="113366">
        <dgm:presLayoutVars>
          <dgm:chMax val="0"/>
          <dgm:chPref val="0"/>
          <dgm:bulletEnabled val="1"/>
        </dgm:presLayoutVars>
      </dgm:prSet>
      <dgm:spPr/>
    </dgm:pt>
    <dgm:pt modelId="{04FB93BA-8471-4905-BAEF-CC845EE40A9D}" type="pres">
      <dgm:prSet presAssocID="{6CA7EE7A-FB42-454B-981E-2CA6023FBE9D}" presName="parTxOnlySpace" presStyleCnt="0"/>
      <dgm:spPr/>
    </dgm:pt>
    <dgm:pt modelId="{FF4DFE28-955F-49A5-A705-3818EF4C5A20}" type="pres">
      <dgm:prSet presAssocID="{F47DBF0C-8F9D-451A-95F5-BBF0E92D9F1D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890BF6B-9C67-44F0-90B4-66E5E327B591}" type="pres">
      <dgm:prSet presAssocID="{A44F53DC-5EF7-4F52-91CF-9A2FFF9CA69C}" presName="parTxOnlySpace" presStyleCnt="0"/>
      <dgm:spPr/>
    </dgm:pt>
    <dgm:pt modelId="{5CB2C694-EA24-4E77-852C-4B16A23856BA}" type="pres">
      <dgm:prSet presAssocID="{5B9C60CA-3C5C-4DA6-9CAC-CD14C689A9FF}" presName="parTxOnly" presStyleLbl="node1" presStyleIdx="3" presStyleCnt="4" custScaleX="97188">
        <dgm:presLayoutVars>
          <dgm:chMax val="0"/>
          <dgm:chPref val="0"/>
          <dgm:bulletEnabled val="1"/>
        </dgm:presLayoutVars>
      </dgm:prSet>
      <dgm:spPr/>
    </dgm:pt>
  </dgm:ptLst>
  <dgm:cxnLst>
    <dgm:cxn modelId="{59FC4905-A91D-4F6A-A362-0480638952F4}" type="presOf" srcId="{4082B0C4-9FF4-45F8-9D57-2F65FD9B338E}" destId="{C5D9647C-DE65-4D2C-9217-419A28E8B04F}" srcOrd="0" destOrd="0" presId="urn:microsoft.com/office/officeart/2005/8/layout/chevron1"/>
    <dgm:cxn modelId="{75ED6F1E-3364-4B74-8340-1924DCBDAC14}" srcId="{9F68F024-C180-490F-B5C2-2FF5B4452832}" destId="{7E4409DB-319B-4F35-A61C-6148DDB1DEB5}" srcOrd="0" destOrd="0" parTransId="{364F7A72-B8C1-4ABF-B028-8F6AC06C9008}" sibTransId="{DB8076FA-C0A5-4092-A065-6CEB68880C9E}"/>
    <dgm:cxn modelId="{5A54BC24-33B5-4692-A548-66A3BD1E0DBC}" type="presOf" srcId="{F47DBF0C-8F9D-451A-95F5-BBF0E92D9F1D}" destId="{FF4DFE28-955F-49A5-A705-3818EF4C5A20}" srcOrd="0" destOrd="0" presId="urn:microsoft.com/office/officeart/2005/8/layout/chevron1"/>
    <dgm:cxn modelId="{9A52FE63-3BB9-4A10-9AE6-0F32086FCFE1}" srcId="{9F68F024-C180-490F-B5C2-2FF5B4452832}" destId="{F47DBF0C-8F9D-451A-95F5-BBF0E92D9F1D}" srcOrd="2" destOrd="0" parTransId="{F97C6BA6-9D3A-4749-9849-C7FD6B348C2B}" sibTransId="{A44F53DC-5EF7-4F52-91CF-9A2FFF9CA69C}"/>
    <dgm:cxn modelId="{5364DC52-88D2-4A80-854F-F65DB4CF6908}" srcId="{9F68F024-C180-490F-B5C2-2FF5B4452832}" destId="{4082B0C4-9FF4-45F8-9D57-2F65FD9B338E}" srcOrd="1" destOrd="0" parTransId="{E18EBBB1-6FE3-4CDB-AFFF-8CB9BA6F218F}" sibTransId="{6CA7EE7A-FB42-454B-981E-2CA6023FBE9D}"/>
    <dgm:cxn modelId="{7B47E993-D85E-4157-AC02-7124905C0B47}" srcId="{9F68F024-C180-490F-B5C2-2FF5B4452832}" destId="{5B9C60CA-3C5C-4DA6-9CAC-CD14C689A9FF}" srcOrd="3" destOrd="0" parTransId="{F8B80E0B-FC50-40CC-AB97-108C341EF24C}" sibTransId="{FBE4AB5E-2112-4734-89C4-5BD4C0605209}"/>
    <dgm:cxn modelId="{FE117BB7-9959-43B7-91DF-55A7ED7A1225}" type="presOf" srcId="{7E4409DB-319B-4F35-A61C-6148DDB1DEB5}" destId="{DE36CCFF-A983-4111-88B8-CC2491FE800B}" srcOrd="0" destOrd="0" presId="urn:microsoft.com/office/officeart/2005/8/layout/chevron1"/>
    <dgm:cxn modelId="{7D8E74BF-EF9B-4027-B2EE-40FC9D44F74A}" type="presOf" srcId="{5B9C60CA-3C5C-4DA6-9CAC-CD14C689A9FF}" destId="{5CB2C694-EA24-4E77-852C-4B16A23856BA}" srcOrd="0" destOrd="0" presId="urn:microsoft.com/office/officeart/2005/8/layout/chevron1"/>
    <dgm:cxn modelId="{8D4C10F2-0942-48A7-8BCB-72E35D4876A2}" type="presOf" srcId="{9F68F024-C180-490F-B5C2-2FF5B4452832}" destId="{48022F81-AE7F-458A-A42C-C8E02BE2BE3D}" srcOrd="0" destOrd="0" presId="urn:microsoft.com/office/officeart/2005/8/layout/chevron1"/>
    <dgm:cxn modelId="{F820EBC3-3090-4E90-BEB8-C9CC700D3AEB}" type="presParOf" srcId="{48022F81-AE7F-458A-A42C-C8E02BE2BE3D}" destId="{DE36CCFF-A983-4111-88B8-CC2491FE800B}" srcOrd="0" destOrd="0" presId="urn:microsoft.com/office/officeart/2005/8/layout/chevron1"/>
    <dgm:cxn modelId="{C5275CCC-3DAE-4B6F-A9D4-5265A219D954}" type="presParOf" srcId="{48022F81-AE7F-458A-A42C-C8E02BE2BE3D}" destId="{6DE86B10-D471-4782-983A-DE78F6F2D54A}" srcOrd="1" destOrd="0" presId="urn:microsoft.com/office/officeart/2005/8/layout/chevron1"/>
    <dgm:cxn modelId="{C4E0D161-3047-4997-833C-413FD629C803}" type="presParOf" srcId="{48022F81-AE7F-458A-A42C-C8E02BE2BE3D}" destId="{C5D9647C-DE65-4D2C-9217-419A28E8B04F}" srcOrd="2" destOrd="0" presId="urn:microsoft.com/office/officeart/2005/8/layout/chevron1"/>
    <dgm:cxn modelId="{5E8F9425-8AEA-45C0-827A-DD147F5934AC}" type="presParOf" srcId="{48022F81-AE7F-458A-A42C-C8E02BE2BE3D}" destId="{04FB93BA-8471-4905-BAEF-CC845EE40A9D}" srcOrd="3" destOrd="0" presId="urn:microsoft.com/office/officeart/2005/8/layout/chevron1"/>
    <dgm:cxn modelId="{335894F9-028E-4073-9C24-33D5BA957850}" type="presParOf" srcId="{48022F81-AE7F-458A-A42C-C8E02BE2BE3D}" destId="{FF4DFE28-955F-49A5-A705-3818EF4C5A20}" srcOrd="4" destOrd="0" presId="urn:microsoft.com/office/officeart/2005/8/layout/chevron1"/>
    <dgm:cxn modelId="{A96B3F4C-0048-4907-B882-C41E6B4E5508}" type="presParOf" srcId="{48022F81-AE7F-458A-A42C-C8E02BE2BE3D}" destId="{9890BF6B-9C67-44F0-90B4-66E5E327B591}" srcOrd="5" destOrd="0" presId="urn:microsoft.com/office/officeart/2005/8/layout/chevron1"/>
    <dgm:cxn modelId="{F5530D18-D481-4C53-B1B4-9A30AD327004}" type="presParOf" srcId="{48022F81-AE7F-458A-A42C-C8E02BE2BE3D}" destId="{5CB2C694-EA24-4E77-852C-4B16A23856BA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F68F024-C180-490F-B5C2-2FF5B445283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632ADB4-E0A9-4A84-B8FE-76225AAE3852}">
      <dgm:prSet phldrT="[Texte]"/>
      <dgm:spPr>
        <a:solidFill>
          <a:srgbClr val="0F999C"/>
        </a:solidFill>
      </dgm:spPr>
      <dgm:t>
        <a:bodyPr/>
        <a:lstStyle/>
        <a:p>
          <a:r>
            <a:rPr lang="fr-FR">
              <a:latin typeface="Verdana" panose="020B0604030504040204" pitchFamily="34" charset="0"/>
              <a:ea typeface="Verdana" panose="020B0604030504040204" pitchFamily="34" charset="0"/>
            </a:rPr>
            <a:t>Découvrir les services</a:t>
          </a:r>
        </a:p>
      </dgm:t>
    </dgm:pt>
    <dgm:pt modelId="{D50B23F9-9733-445B-BAFE-416B891277BE}" type="parTrans" cxnId="{7B176C02-0B63-465A-91A4-36C8AF8AEADD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C7F5C56F-78CD-41B7-9F89-823E674F9BF5}" type="sibTrans" cxnId="{7B176C02-0B63-465A-91A4-36C8AF8AEADD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841E3811-9334-46E5-A965-A51D1E7E5FF2}">
      <dgm:prSet phldrT="[Texte]"/>
      <dgm:spPr>
        <a:solidFill>
          <a:srgbClr val="0F999C"/>
        </a:solidFill>
      </dgm:spPr>
      <dgm:t>
        <a:bodyPr/>
        <a:lstStyle/>
        <a:p>
          <a:r>
            <a:rPr lang="fr-FR">
              <a:latin typeface="Verdana" panose="020B0604030504040204" pitchFamily="34" charset="0"/>
              <a:ea typeface="Verdana" panose="020B0604030504040204" pitchFamily="34" charset="0"/>
            </a:rPr>
            <a:t>Lister les services / fonctionnalités MSP disponibles</a:t>
          </a:r>
        </a:p>
      </dgm:t>
    </dgm:pt>
    <dgm:pt modelId="{3DD41D86-25A6-45D0-A4FB-B0DE255F3BBC}" type="parTrans" cxnId="{E3169386-CC26-42A3-A8BC-5ADC38C7D5CF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75A85F7-31C3-40FD-B67A-C4BD1C7F642F}" type="sibTrans" cxnId="{E3169386-CC26-42A3-A8BC-5ADC38C7D5CF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E4409DB-319B-4F35-A61C-6148DDB1DEB5}">
      <dgm:prSet phldrT="[Texte]"/>
      <dgm:spPr>
        <a:solidFill>
          <a:srgbClr val="0F999C"/>
        </a:solidFill>
      </dgm:spPr>
      <dgm:t>
        <a:bodyPr/>
        <a:lstStyle/>
        <a:p>
          <a:r>
            <a:rPr lang="fr-FR">
              <a:latin typeface="Verdana" panose="020B0604030504040204" pitchFamily="34" charset="0"/>
              <a:ea typeface="Verdana" panose="020B0604030504040204" pitchFamily="34" charset="0"/>
            </a:rPr>
            <a:t>Utiliser ou non le MSP intégré</a:t>
          </a:r>
        </a:p>
      </dgm:t>
    </dgm:pt>
    <dgm:pt modelId="{364F7A72-B8C1-4ABF-B028-8F6AC06C9008}" type="parTrans" cxnId="{75ED6F1E-3364-4B74-8340-1924DCBDAC14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DB8076FA-C0A5-4092-A065-6CEB68880C9E}" type="sibTrans" cxnId="{75ED6F1E-3364-4B74-8340-1924DCBDAC14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91A29F86-40F8-46BB-9691-B3E9C2D9610E}">
      <dgm:prSet phldrT="[Texte]"/>
      <dgm:spPr>
        <a:solidFill>
          <a:srgbClr val="12ABDB"/>
        </a:solidFill>
      </dgm:spPr>
      <dgm:t>
        <a:bodyPr/>
        <a:lstStyle/>
        <a:p>
          <a:r>
            <a:rPr lang="fr-FR">
              <a:latin typeface="Verdana" panose="020B0604030504040204" pitchFamily="34" charset="0"/>
              <a:ea typeface="Verdana" panose="020B0604030504040204" pitchFamily="34" charset="0"/>
            </a:rPr>
            <a:t>Utiliser les services MSP intégrés via le HUB</a:t>
          </a:r>
        </a:p>
      </dgm:t>
    </dgm:pt>
    <dgm:pt modelId="{1A2DFA1E-B7FD-449C-9CFD-C82E42A1C059}" type="parTrans" cxnId="{BCD0410D-CF81-4993-BF9E-B886A4A1A4EB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F486B1D9-3482-45F1-8963-3A8D6200C09B}" type="sibTrans" cxnId="{BCD0410D-CF81-4993-BF9E-B886A4A1A4EB}">
      <dgm:prSet/>
      <dgm:spPr/>
      <dgm:t>
        <a:bodyPr/>
        <a:lstStyle/>
        <a:p>
          <a:endParaRPr lang="fr-FR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48022F81-AE7F-458A-A42C-C8E02BE2BE3D}" type="pres">
      <dgm:prSet presAssocID="{9F68F024-C180-490F-B5C2-2FF5B4452832}" presName="Name0" presStyleCnt="0">
        <dgm:presLayoutVars>
          <dgm:dir/>
          <dgm:animLvl val="lvl"/>
          <dgm:resizeHandles val="exact"/>
        </dgm:presLayoutVars>
      </dgm:prSet>
      <dgm:spPr/>
    </dgm:pt>
    <dgm:pt modelId="{07AE9833-C339-49EC-8687-80F47D476D88}" type="pres">
      <dgm:prSet presAssocID="{D632ADB4-E0A9-4A84-B8FE-76225AAE3852}" presName="parTxOnly" presStyleLbl="node1" presStyleIdx="0" presStyleCnt="4" custScaleY="88548">
        <dgm:presLayoutVars>
          <dgm:chMax val="0"/>
          <dgm:chPref val="0"/>
          <dgm:bulletEnabled val="1"/>
        </dgm:presLayoutVars>
      </dgm:prSet>
      <dgm:spPr/>
    </dgm:pt>
    <dgm:pt modelId="{4304F54D-EEF9-467B-90AB-061BE09EFA1B}" type="pres">
      <dgm:prSet presAssocID="{C7F5C56F-78CD-41B7-9F89-823E674F9BF5}" presName="parTxOnlySpace" presStyleCnt="0"/>
      <dgm:spPr/>
    </dgm:pt>
    <dgm:pt modelId="{7BD2B4AB-1462-47FE-AABC-90A7DEA8B06D}" type="pres">
      <dgm:prSet presAssocID="{841E3811-9334-46E5-A965-A51D1E7E5FF2}" presName="parTxOnly" presStyleLbl="node1" presStyleIdx="1" presStyleCnt="4" custScaleY="88548" custLinFactNeighborY="-388">
        <dgm:presLayoutVars>
          <dgm:chMax val="0"/>
          <dgm:chPref val="0"/>
          <dgm:bulletEnabled val="1"/>
        </dgm:presLayoutVars>
      </dgm:prSet>
      <dgm:spPr/>
    </dgm:pt>
    <dgm:pt modelId="{6C2706B7-7477-4139-B040-BFDDDDEF7CED}" type="pres">
      <dgm:prSet presAssocID="{F75A85F7-31C3-40FD-B67A-C4BD1C7F642F}" presName="parTxOnlySpace" presStyleCnt="0"/>
      <dgm:spPr/>
    </dgm:pt>
    <dgm:pt modelId="{8555AC13-79B6-47FA-96D0-5589C9D22AB1}" type="pres">
      <dgm:prSet presAssocID="{7E4409DB-319B-4F35-A61C-6148DDB1DEB5}" presName="parTxOnly" presStyleLbl="node1" presStyleIdx="2" presStyleCnt="4" custScaleY="88548" custLinFactNeighborY="-388">
        <dgm:presLayoutVars>
          <dgm:chMax val="0"/>
          <dgm:chPref val="0"/>
          <dgm:bulletEnabled val="1"/>
        </dgm:presLayoutVars>
      </dgm:prSet>
      <dgm:spPr/>
    </dgm:pt>
    <dgm:pt modelId="{3C76B30D-823C-4691-810A-2BF14193FE6F}" type="pres">
      <dgm:prSet presAssocID="{DB8076FA-C0A5-4092-A065-6CEB68880C9E}" presName="parTxOnlySpace" presStyleCnt="0"/>
      <dgm:spPr/>
    </dgm:pt>
    <dgm:pt modelId="{0D710995-F668-43AC-8F32-8B731330C9CC}" type="pres">
      <dgm:prSet presAssocID="{91A29F86-40F8-46BB-9691-B3E9C2D9610E}" presName="parTxOnly" presStyleLbl="node1" presStyleIdx="3" presStyleCnt="4" custScaleY="88548">
        <dgm:presLayoutVars>
          <dgm:chMax val="0"/>
          <dgm:chPref val="0"/>
          <dgm:bulletEnabled val="1"/>
        </dgm:presLayoutVars>
      </dgm:prSet>
      <dgm:spPr/>
    </dgm:pt>
  </dgm:ptLst>
  <dgm:cxnLst>
    <dgm:cxn modelId="{7B176C02-0B63-465A-91A4-36C8AF8AEADD}" srcId="{9F68F024-C180-490F-B5C2-2FF5B4452832}" destId="{D632ADB4-E0A9-4A84-B8FE-76225AAE3852}" srcOrd="0" destOrd="0" parTransId="{D50B23F9-9733-445B-BAFE-416B891277BE}" sibTransId="{C7F5C56F-78CD-41B7-9F89-823E674F9BF5}"/>
    <dgm:cxn modelId="{BCD0410D-CF81-4993-BF9E-B886A4A1A4EB}" srcId="{9F68F024-C180-490F-B5C2-2FF5B4452832}" destId="{91A29F86-40F8-46BB-9691-B3E9C2D9610E}" srcOrd="3" destOrd="0" parTransId="{1A2DFA1E-B7FD-449C-9CFD-C82E42A1C059}" sibTransId="{F486B1D9-3482-45F1-8963-3A8D6200C09B}"/>
    <dgm:cxn modelId="{75ED6F1E-3364-4B74-8340-1924DCBDAC14}" srcId="{9F68F024-C180-490F-B5C2-2FF5B4452832}" destId="{7E4409DB-319B-4F35-A61C-6148DDB1DEB5}" srcOrd="2" destOrd="0" parTransId="{364F7A72-B8C1-4ABF-B028-8F6AC06C9008}" sibTransId="{DB8076FA-C0A5-4092-A065-6CEB68880C9E}"/>
    <dgm:cxn modelId="{BFB7FA33-D299-4047-BB0D-D0E049A0EBED}" type="presOf" srcId="{D632ADB4-E0A9-4A84-B8FE-76225AAE3852}" destId="{07AE9833-C339-49EC-8687-80F47D476D88}" srcOrd="0" destOrd="0" presId="urn:microsoft.com/office/officeart/2005/8/layout/chevron1"/>
    <dgm:cxn modelId="{7B2D3C5B-B418-4558-8D1D-A0DCFDE0E81A}" type="presOf" srcId="{91A29F86-40F8-46BB-9691-B3E9C2D9610E}" destId="{0D710995-F668-43AC-8F32-8B731330C9CC}" srcOrd="0" destOrd="0" presId="urn:microsoft.com/office/officeart/2005/8/layout/chevron1"/>
    <dgm:cxn modelId="{E3169386-CC26-42A3-A8BC-5ADC38C7D5CF}" srcId="{9F68F024-C180-490F-B5C2-2FF5B4452832}" destId="{841E3811-9334-46E5-A965-A51D1E7E5FF2}" srcOrd="1" destOrd="0" parTransId="{3DD41D86-25A6-45D0-A4FB-B0DE255F3BBC}" sibTransId="{F75A85F7-31C3-40FD-B67A-C4BD1C7F642F}"/>
    <dgm:cxn modelId="{504AC2C9-457D-4150-A8E1-B16B46408312}" type="presOf" srcId="{7E4409DB-319B-4F35-A61C-6148DDB1DEB5}" destId="{8555AC13-79B6-47FA-96D0-5589C9D22AB1}" srcOrd="0" destOrd="0" presId="urn:microsoft.com/office/officeart/2005/8/layout/chevron1"/>
    <dgm:cxn modelId="{8538A1D8-2B38-439B-83D8-063C18DBB222}" type="presOf" srcId="{841E3811-9334-46E5-A965-A51D1E7E5FF2}" destId="{7BD2B4AB-1462-47FE-AABC-90A7DEA8B06D}" srcOrd="0" destOrd="0" presId="urn:microsoft.com/office/officeart/2005/8/layout/chevron1"/>
    <dgm:cxn modelId="{8D4C10F2-0942-48A7-8BCB-72E35D4876A2}" type="presOf" srcId="{9F68F024-C180-490F-B5C2-2FF5B4452832}" destId="{48022F81-AE7F-458A-A42C-C8E02BE2BE3D}" srcOrd="0" destOrd="0" presId="urn:microsoft.com/office/officeart/2005/8/layout/chevron1"/>
    <dgm:cxn modelId="{5F71C80C-A142-451E-BF88-2A907D9BFEF0}" type="presParOf" srcId="{48022F81-AE7F-458A-A42C-C8E02BE2BE3D}" destId="{07AE9833-C339-49EC-8687-80F47D476D88}" srcOrd="0" destOrd="0" presId="urn:microsoft.com/office/officeart/2005/8/layout/chevron1"/>
    <dgm:cxn modelId="{93A18478-F572-4458-B7E1-D6A1A358348A}" type="presParOf" srcId="{48022F81-AE7F-458A-A42C-C8E02BE2BE3D}" destId="{4304F54D-EEF9-467B-90AB-061BE09EFA1B}" srcOrd="1" destOrd="0" presId="urn:microsoft.com/office/officeart/2005/8/layout/chevron1"/>
    <dgm:cxn modelId="{6AF593DF-E950-488C-A9B9-265813EF86B5}" type="presParOf" srcId="{48022F81-AE7F-458A-A42C-C8E02BE2BE3D}" destId="{7BD2B4AB-1462-47FE-AABC-90A7DEA8B06D}" srcOrd="2" destOrd="0" presId="urn:microsoft.com/office/officeart/2005/8/layout/chevron1"/>
    <dgm:cxn modelId="{74370553-0F4F-4D12-8A9C-F663E3D048BA}" type="presParOf" srcId="{48022F81-AE7F-458A-A42C-C8E02BE2BE3D}" destId="{6C2706B7-7477-4139-B040-BFDDDDEF7CED}" srcOrd="3" destOrd="0" presId="urn:microsoft.com/office/officeart/2005/8/layout/chevron1"/>
    <dgm:cxn modelId="{BC128676-D9EA-46FC-8C83-7483877153C4}" type="presParOf" srcId="{48022F81-AE7F-458A-A42C-C8E02BE2BE3D}" destId="{8555AC13-79B6-47FA-96D0-5589C9D22AB1}" srcOrd="4" destOrd="0" presId="urn:microsoft.com/office/officeart/2005/8/layout/chevron1"/>
    <dgm:cxn modelId="{B190394F-3AED-4115-B336-D545496FB5D8}" type="presParOf" srcId="{48022F81-AE7F-458A-A42C-C8E02BE2BE3D}" destId="{3C76B30D-823C-4691-810A-2BF14193FE6F}" srcOrd="5" destOrd="0" presId="urn:microsoft.com/office/officeart/2005/8/layout/chevron1"/>
    <dgm:cxn modelId="{ACDA2972-523B-41FC-8D97-723EF239E8FD}" type="presParOf" srcId="{48022F81-AE7F-458A-A42C-C8E02BE2BE3D}" destId="{0D710995-F668-43AC-8F32-8B731330C9CC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55AC13-79B6-47FA-96D0-5589C9D22AB1}">
      <dsp:nvSpPr>
        <dsp:cNvPr id="0" name=""/>
        <dsp:cNvSpPr/>
      </dsp:nvSpPr>
      <dsp:spPr>
        <a:xfrm>
          <a:off x="66" y="783763"/>
          <a:ext cx="2136860" cy="858242"/>
        </a:xfrm>
        <a:prstGeom prst="chevron">
          <a:avLst/>
        </a:prstGeom>
        <a:solidFill>
          <a:srgbClr val="8608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rPr>
            <a:t>Prendre connaissance des services disponibles</a:t>
          </a:r>
        </a:p>
      </dsp:txBody>
      <dsp:txXfrm>
        <a:off x="429187" y="783763"/>
        <a:ext cx="1278618" cy="858242"/>
      </dsp:txXfrm>
    </dsp:sp>
    <dsp:sp modelId="{F8F32FBB-E535-424A-9C06-8101B8BE4C61}">
      <dsp:nvSpPr>
        <dsp:cNvPr id="0" name=""/>
        <dsp:cNvSpPr/>
      </dsp:nvSpPr>
      <dsp:spPr>
        <a:xfrm>
          <a:off x="1974974" y="779144"/>
          <a:ext cx="2387869" cy="867480"/>
        </a:xfrm>
        <a:prstGeom prst="chevron">
          <a:avLst/>
        </a:prstGeom>
        <a:solidFill>
          <a:srgbClr val="8608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Prendre connaissance de la spécification de l’API</a:t>
          </a:r>
        </a:p>
      </dsp:txBody>
      <dsp:txXfrm>
        <a:off x="2408714" y="779144"/>
        <a:ext cx="1520389" cy="867480"/>
      </dsp:txXfrm>
    </dsp:sp>
    <dsp:sp modelId="{19470A57-543F-4E17-AEDC-A8EFABFAA300}">
      <dsp:nvSpPr>
        <dsp:cNvPr id="0" name=""/>
        <dsp:cNvSpPr/>
      </dsp:nvSpPr>
      <dsp:spPr>
        <a:xfrm>
          <a:off x="4200892" y="783763"/>
          <a:ext cx="2136860" cy="858242"/>
        </a:xfrm>
        <a:prstGeom prst="chevron">
          <a:avLst/>
        </a:prstGeom>
        <a:solidFill>
          <a:srgbClr val="8608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Demander l’accès au HUB</a:t>
          </a:r>
        </a:p>
      </dsp:txBody>
      <dsp:txXfrm>
        <a:off x="4630013" y="783763"/>
        <a:ext cx="1278618" cy="858242"/>
      </dsp:txXfrm>
    </dsp:sp>
    <dsp:sp modelId="{BDC8B077-FC2B-4C1C-BB50-D268A30D2D96}">
      <dsp:nvSpPr>
        <dsp:cNvPr id="0" name=""/>
        <dsp:cNvSpPr/>
      </dsp:nvSpPr>
      <dsp:spPr>
        <a:xfrm>
          <a:off x="6175801" y="783763"/>
          <a:ext cx="2136860" cy="858242"/>
        </a:xfrm>
        <a:prstGeom prst="chevron">
          <a:avLst/>
        </a:prstGeom>
        <a:solidFill>
          <a:srgbClr val="8608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Intégration et ouverture des flux d’accès au HUB</a:t>
          </a:r>
        </a:p>
      </dsp:txBody>
      <dsp:txXfrm>
        <a:off x="6604922" y="783763"/>
        <a:ext cx="1278618" cy="8582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AE9833-C339-49EC-8687-80F47D476D88}">
      <dsp:nvSpPr>
        <dsp:cNvPr id="0" name=""/>
        <dsp:cNvSpPr/>
      </dsp:nvSpPr>
      <dsp:spPr>
        <a:xfrm>
          <a:off x="3856" y="281131"/>
          <a:ext cx="2244598" cy="795018"/>
        </a:xfrm>
        <a:prstGeom prst="chevron">
          <a:avLst/>
        </a:prstGeom>
        <a:solidFill>
          <a:srgbClr val="0F999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Découvrir les services</a:t>
          </a:r>
        </a:p>
      </dsp:txBody>
      <dsp:txXfrm>
        <a:off x="401365" y="281131"/>
        <a:ext cx="1449580" cy="795018"/>
      </dsp:txXfrm>
    </dsp:sp>
    <dsp:sp modelId="{7BD2B4AB-1462-47FE-AABC-90A7DEA8B06D}">
      <dsp:nvSpPr>
        <dsp:cNvPr id="0" name=""/>
        <dsp:cNvSpPr/>
      </dsp:nvSpPr>
      <dsp:spPr>
        <a:xfrm>
          <a:off x="2023995" y="277647"/>
          <a:ext cx="2244598" cy="795018"/>
        </a:xfrm>
        <a:prstGeom prst="chevron">
          <a:avLst/>
        </a:prstGeom>
        <a:solidFill>
          <a:srgbClr val="0F999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Lister les services / fonctionnalités MSP disponibles</a:t>
          </a:r>
        </a:p>
      </dsp:txBody>
      <dsp:txXfrm>
        <a:off x="2421504" y="277647"/>
        <a:ext cx="1449580" cy="795018"/>
      </dsp:txXfrm>
    </dsp:sp>
    <dsp:sp modelId="{8555AC13-79B6-47FA-96D0-5589C9D22AB1}">
      <dsp:nvSpPr>
        <dsp:cNvPr id="0" name=""/>
        <dsp:cNvSpPr/>
      </dsp:nvSpPr>
      <dsp:spPr>
        <a:xfrm>
          <a:off x="4044134" y="277647"/>
          <a:ext cx="2244598" cy="795018"/>
        </a:xfrm>
        <a:prstGeom prst="chevron">
          <a:avLst/>
        </a:prstGeom>
        <a:solidFill>
          <a:srgbClr val="0F999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Choisir les MSPs à utiliser</a:t>
          </a:r>
        </a:p>
      </dsp:txBody>
      <dsp:txXfrm>
        <a:off x="4441643" y="277647"/>
        <a:ext cx="1449580" cy="795018"/>
      </dsp:txXfrm>
    </dsp:sp>
    <dsp:sp modelId="{0D710995-F668-43AC-8F32-8B731330C9CC}">
      <dsp:nvSpPr>
        <dsp:cNvPr id="0" name=""/>
        <dsp:cNvSpPr/>
      </dsp:nvSpPr>
      <dsp:spPr>
        <a:xfrm>
          <a:off x="6064273" y="281131"/>
          <a:ext cx="2244598" cy="795018"/>
        </a:xfrm>
        <a:prstGeom prst="chevron">
          <a:avLst/>
        </a:prstGeom>
        <a:solidFill>
          <a:srgbClr val="12AB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Utiliser les services MSPs via le HUB</a:t>
          </a:r>
        </a:p>
      </dsp:txBody>
      <dsp:txXfrm>
        <a:off x="6461782" y="281131"/>
        <a:ext cx="1449580" cy="7950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36CCFF-A983-4111-88B8-CC2491FE800B}">
      <dsp:nvSpPr>
        <dsp:cNvPr id="0" name=""/>
        <dsp:cNvSpPr/>
      </dsp:nvSpPr>
      <dsp:spPr>
        <a:xfrm>
          <a:off x="2876" y="798950"/>
          <a:ext cx="2465165" cy="832896"/>
        </a:xfrm>
        <a:prstGeom prst="chevron">
          <a:avLst/>
        </a:prstGeom>
        <a:solidFill>
          <a:srgbClr val="8608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solidFill>
                <a:schemeClr val="bg1"/>
              </a:solidFill>
              <a:latin typeface="Verdana"/>
              <a:ea typeface="Verdana"/>
            </a:rPr>
            <a:t>Prendre contact et établir un accord d’accès avec le MSP</a:t>
          </a:r>
        </a:p>
      </dsp:txBody>
      <dsp:txXfrm>
        <a:off x="419324" y="798950"/>
        <a:ext cx="1632269" cy="832896"/>
      </dsp:txXfrm>
    </dsp:sp>
    <dsp:sp modelId="{C5D9647C-DE65-4D2C-9217-419A28E8B04F}">
      <dsp:nvSpPr>
        <dsp:cNvPr id="0" name=""/>
        <dsp:cNvSpPr/>
      </dsp:nvSpPr>
      <dsp:spPr>
        <a:xfrm>
          <a:off x="2259817" y="798950"/>
          <a:ext cx="2360553" cy="832896"/>
        </a:xfrm>
        <a:prstGeom prst="chevron">
          <a:avLst/>
        </a:prstGeom>
        <a:solidFill>
          <a:srgbClr val="8608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/>
              <a:ea typeface="Verdana"/>
            </a:rPr>
            <a:t>Vérifier la spécification de l’API standard du MSP</a:t>
          </a:r>
        </a:p>
      </dsp:txBody>
      <dsp:txXfrm>
        <a:off x="2676265" y="798950"/>
        <a:ext cx="1527657" cy="832896"/>
      </dsp:txXfrm>
    </dsp:sp>
    <dsp:sp modelId="{FF4DFE28-955F-49A5-A705-3818EF4C5A20}">
      <dsp:nvSpPr>
        <dsp:cNvPr id="0" name=""/>
        <dsp:cNvSpPr/>
      </dsp:nvSpPr>
      <dsp:spPr>
        <a:xfrm>
          <a:off x="4412146" y="798950"/>
          <a:ext cx="2082240" cy="832896"/>
        </a:xfrm>
        <a:prstGeom prst="chevron">
          <a:avLst/>
        </a:prstGeom>
        <a:solidFill>
          <a:srgbClr val="8608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solidFill>
                <a:prstClr val="white"/>
              </a:solidFill>
              <a:latin typeface="Verdana"/>
              <a:ea typeface="Verdana"/>
              <a:cs typeface="+mn-cs"/>
            </a:rPr>
            <a:t>Configurer l’accès au MSP</a:t>
          </a:r>
        </a:p>
      </dsp:txBody>
      <dsp:txXfrm>
        <a:off x="4828594" y="798950"/>
        <a:ext cx="1249344" cy="832896"/>
      </dsp:txXfrm>
    </dsp:sp>
    <dsp:sp modelId="{5CB2C694-EA24-4E77-852C-4B16A23856BA}">
      <dsp:nvSpPr>
        <dsp:cNvPr id="0" name=""/>
        <dsp:cNvSpPr/>
      </dsp:nvSpPr>
      <dsp:spPr>
        <a:xfrm>
          <a:off x="6286163" y="798950"/>
          <a:ext cx="2023688" cy="832896"/>
        </a:xfrm>
        <a:prstGeom prst="chevron">
          <a:avLst/>
        </a:prstGeom>
        <a:solidFill>
          <a:srgbClr val="8608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solidFill>
                <a:prstClr val="white"/>
              </a:solidFill>
              <a:latin typeface="Verdana"/>
              <a:ea typeface="Verdana"/>
              <a:cs typeface="+mn-cs"/>
            </a:rPr>
            <a:t>Ouvrir les flux vers le MSP</a:t>
          </a:r>
        </a:p>
      </dsp:txBody>
      <dsp:txXfrm>
        <a:off x="6702611" y="798950"/>
        <a:ext cx="1190792" cy="83289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AE9833-C339-49EC-8687-80F47D476D88}">
      <dsp:nvSpPr>
        <dsp:cNvPr id="0" name=""/>
        <dsp:cNvSpPr/>
      </dsp:nvSpPr>
      <dsp:spPr>
        <a:xfrm>
          <a:off x="3856" y="281131"/>
          <a:ext cx="2244598" cy="795018"/>
        </a:xfrm>
        <a:prstGeom prst="chevron">
          <a:avLst/>
        </a:prstGeom>
        <a:solidFill>
          <a:srgbClr val="0F999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Découvrir les services</a:t>
          </a:r>
        </a:p>
      </dsp:txBody>
      <dsp:txXfrm>
        <a:off x="401365" y="281131"/>
        <a:ext cx="1449580" cy="795018"/>
      </dsp:txXfrm>
    </dsp:sp>
    <dsp:sp modelId="{7BD2B4AB-1462-47FE-AABC-90A7DEA8B06D}">
      <dsp:nvSpPr>
        <dsp:cNvPr id="0" name=""/>
        <dsp:cNvSpPr/>
      </dsp:nvSpPr>
      <dsp:spPr>
        <a:xfrm>
          <a:off x="2023995" y="277647"/>
          <a:ext cx="2244598" cy="795018"/>
        </a:xfrm>
        <a:prstGeom prst="chevron">
          <a:avLst/>
        </a:prstGeom>
        <a:solidFill>
          <a:srgbClr val="0F999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Lister les services / fonctionnalités MSP disponibles</a:t>
          </a:r>
        </a:p>
      </dsp:txBody>
      <dsp:txXfrm>
        <a:off x="2421504" y="277647"/>
        <a:ext cx="1449580" cy="795018"/>
      </dsp:txXfrm>
    </dsp:sp>
    <dsp:sp modelId="{8555AC13-79B6-47FA-96D0-5589C9D22AB1}">
      <dsp:nvSpPr>
        <dsp:cNvPr id="0" name=""/>
        <dsp:cNvSpPr/>
      </dsp:nvSpPr>
      <dsp:spPr>
        <a:xfrm>
          <a:off x="4044134" y="277647"/>
          <a:ext cx="2244598" cy="795018"/>
        </a:xfrm>
        <a:prstGeom prst="chevron">
          <a:avLst/>
        </a:prstGeom>
        <a:solidFill>
          <a:srgbClr val="0F999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Utiliser ou non le MSP intégré</a:t>
          </a:r>
        </a:p>
      </dsp:txBody>
      <dsp:txXfrm>
        <a:off x="4441643" y="277647"/>
        <a:ext cx="1449580" cy="795018"/>
      </dsp:txXfrm>
    </dsp:sp>
    <dsp:sp modelId="{0D710995-F668-43AC-8F32-8B731330C9CC}">
      <dsp:nvSpPr>
        <dsp:cNvPr id="0" name=""/>
        <dsp:cNvSpPr/>
      </dsp:nvSpPr>
      <dsp:spPr>
        <a:xfrm>
          <a:off x="6064273" y="281131"/>
          <a:ext cx="2244598" cy="795018"/>
        </a:xfrm>
        <a:prstGeom prst="chevron">
          <a:avLst/>
        </a:prstGeom>
        <a:solidFill>
          <a:srgbClr val="12ABD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>
              <a:latin typeface="Verdana" panose="020B0604030504040204" pitchFamily="34" charset="0"/>
              <a:ea typeface="Verdana" panose="020B0604030504040204" pitchFamily="34" charset="0"/>
            </a:rPr>
            <a:t>Utiliser les services MSP intégrés via le HUB</a:t>
          </a:r>
        </a:p>
      </dsp:txBody>
      <dsp:txXfrm>
        <a:off x="6461782" y="281131"/>
        <a:ext cx="1449580" cy="7950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FC79FD-9954-4EEC-A022-19AD336B64BD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D027C2-68AF-4A25-A12B-56A6FE076D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962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D027C2-68AF-4A25-A12B-56A6FE076DA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63993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Document : </a:t>
            </a:r>
          </a:p>
          <a:p>
            <a:r>
              <a:rPr lang="fr-FR"/>
              <a:t>https://capgemini.sharepoint.com/:p:/r/sites/StandardisationdesMaaSinterne/Shared%20Documents/General/7.%20Cadrage%20Gateway/0.%20Analyses%20MaaS/IDFM/MaaX/20210916_Presentation_Gateway_MaaX_V1.0.pptx?d=wbcc0dfed9b3941a380dc997de79425a6&amp;csf=1&amp;web=1&amp;e=pgnrND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166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Document : </a:t>
            </a:r>
          </a:p>
          <a:p>
            <a:r>
              <a:rPr lang="fr-FR"/>
              <a:t>https://capgemini.sharepoint.com/:p:/r/sites/StandardisationdesMaaSinterne/Shared%20Documents/General/7.%20Cadrage%20Gateway/0.%20Analyses%20MaaS/IDFM/MaaX/20210916_Presentation_Gateway_MaaX_V1.0.pptx?d=wbcc0dfed9b3941a380dc997de79425a6&amp;csf=1&amp;web=1&amp;e=pgnrND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547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Document : </a:t>
            </a:r>
          </a:p>
          <a:p>
            <a:r>
              <a:rPr lang="fr-FR"/>
              <a:t>https://capgemini.sharepoint.com/:p:/r/sites/StandardisationdesMaaSinterne/Shared%20Documents/General/7.%20Cadrage%20Gateway/0.%20Analyses%20MaaS/IDFM/MaaX/20210916_Presentation_Gateway_MaaX_V1.0.pptx?d=wbcc0dfed9b3941a380dc997de79425a6&amp;csf=1&amp;web=1&amp;e=pgnrND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32897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Document : </a:t>
            </a:r>
          </a:p>
          <a:p>
            <a:r>
              <a:rPr lang="fr-FR"/>
              <a:t>https://capgemini.sharepoint.com/:p:/r/sites/StandardisationdesMaaSinterne/Shared%20Documents/General/7.%20Cadrage%20Gateway/0.%20Analyses%20MaaS/IDFM/MaaX/20210916_Presentation_Gateway_MaaX_V1.0.pptx?d=wbcc0dfed9b3941a380dc997de79425a6&amp;csf=1&amp;web=1&amp;e=pgnrND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48826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Document : </a:t>
            </a:r>
          </a:p>
          <a:p>
            <a:r>
              <a:rPr lang="fr-FR"/>
              <a:t>https://capgemini.sharepoint.com/:p:/r/sites/StandardisationdesMaaSinterne/Shared%20Documents/General/7.%20Cadrage%20Gateway/0.%20Analyses%20MaaS/IDFM/MaaX/20210916_Presentation_Gateway_MaaX_V1.0.pptx?d=wbcc0dfed9b3941a380dc997de79425a6&amp;csf=1&amp;web=1&amp;e=pgnrND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3157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En fonction de ce que produit la </a:t>
            </a:r>
            <a:r>
              <a:rPr kumimoji="0" lang="fr-FR" sz="1200" b="1" i="0" u="none" strike="noStrike" cap="none" spc="0" normalizeH="0" baseline="0" err="1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abmob</a:t>
            </a:r>
            <a:r>
              <a:rPr kumimoji="0" lang="fr-FR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, on peut mettre 1 à 2 pages sur le </a:t>
            </a:r>
            <a:r>
              <a:rPr kumimoji="0" lang="fr-FR" sz="1200" b="1" i="0" u="none" strike="noStrike" cap="none" spc="0" normalizeH="0" baseline="0" err="1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bench</a:t>
            </a:r>
            <a:r>
              <a:rPr kumimoji="0" lang="fr-FR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, les initiatives à l’étranger?</a:t>
            </a:r>
          </a:p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0324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5591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02657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D027C2-68AF-4A25-A12B-56A6FE076DAC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02657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12674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Adaptateur d’intégration : traduction du </a:t>
            </a:r>
            <a:r>
              <a:rPr lang="fr-FR" err="1"/>
              <a:t>payload</a:t>
            </a:r>
            <a:endParaRPr lang="fr-FR"/>
          </a:p>
          <a:p>
            <a:r>
              <a:rPr lang="fr-FR"/>
              <a:t>Adaptateur de transport : envoi du </a:t>
            </a:r>
            <a:r>
              <a:rPr lang="fr-FR" err="1"/>
              <a:t>payload</a:t>
            </a:r>
            <a:r>
              <a:rPr lang="fr-FR"/>
              <a:t> dans le protocole souhaité (REST, SOAP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6043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5010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Document : </a:t>
            </a:r>
          </a:p>
          <a:p>
            <a:r>
              <a:rPr lang="fr-FR"/>
              <a:t>https://capgemini.sharepoint.com/:p:/r/sites/StandardisationdesMaaSinterne/Shared%20Documents/General/7.%20Cadrage%20Gateway/0.%20Analyses%20MaaS/IDFM/MaaX/20210916_Presentation_Gateway_MaaX_V1.0.pptx?d=wbcc0dfed9b3941a380dc997de79425a6&amp;csf=1&amp;web=1&amp;e=pgnrND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027C2-68AF-4A25-A12B-56A6FE076DA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014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12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1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1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2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4" Type="http://schemas.openxmlformats.org/officeDocument/2006/relationships/image" Target="../media/image12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1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4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6" name="img01.png" descr="img01.png">
            <a:extLst>
              <a:ext uri="{FF2B5EF4-FFF2-40B4-BE49-F238E27FC236}">
                <a16:creationId xmlns:a16="http://schemas.microsoft.com/office/drawing/2014/main" id="{9873A52F-2833-493B-AB10-E80DE72838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48849" y="635727"/>
            <a:ext cx="8898335" cy="5586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65" y="0"/>
                </a:moveTo>
                <a:cubicBezTo>
                  <a:pt x="7413" y="0"/>
                  <a:pt x="5642" y="0"/>
                  <a:pt x="4461" y="651"/>
                </a:cubicBezTo>
                <a:cubicBezTo>
                  <a:pt x="2578" y="1743"/>
                  <a:pt x="1094" y="4106"/>
                  <a:pt x="409" y="7106"/>
                </a:cubicBezTo>
                <a:cubicBezTo>
                  <a:pt x="138" y="8290"/>
                  <a:pt x="0" y="9540"/>
                  <a:pt x="0" y="10800"/>
                </a:cubicBezTo>
                <a:cubicBezTo>
                  <a:pt x="0" y="12060"/>
                  <a:pt x="138" y="13310"/>
                  <a:pt x="409" y="14494"/>
                </a:cubicBezTo>
                <a:cubicBezTo>
                  <a:pt x="1094" y="17494"/>
                  <a:pt x="2578" y="19857"/>
                  <a:pt x="4461" y="20949"/>
                </a:cubicBezTo>
                <a:cubicBezTo>
                  <a:pt x="5642" y="21600"/>
                  <a:pt x="7413" y="21600"/>
                  <a:pt x="10365" y="21600"/>
                </a:cubicBezTo>
                <a:lnTo>
                  <a:pt x="11235" y="21600"/>
                </a:lnTo>
                <a:cubicBezTo>
                  <a:pt x="14187" y="21600"/>
                  <a:pt x="15958" y="21600"/>
                  <a:pt x="17139" y="20949"/>
                </a:cubicBezTo>
                <a:cubicBezTo>
                  <a:pt x="19022" y="19857"/>
                  <a:pt x="20506" y="17494"/>
                  <a:pt x="21191" y="14494"/>
                </a:cubicBezTo>
                <a:cubicBezTo>
                  <a:pt x="21462" y="13310"/>
                  <a:pt x="21600" y="12060"/>
                  <a:pt x="21600" y="10800"/>
                </a:cubicBezTo>
                <a:cubicBezTo>
                  <a:pt x="21600" y="9540"/>
                  <a:pt x="21462" y="8290"/>
                  <a:pt x="21191" y="7106"/>
                </a:cubicBezTo>
                <a:cubicBezTo>
                  <a:pt x="20506" y="4106"/>
                  <a:pt x="19022" y="1743"/>
                  <a:pt x="17139" y="651"/>
                </a:cubicBezTo>
                <a:cubicBezTo>
                  <a:pt x="15958" y="0"/>
                  <a:pt x="14187" y="0"/>
                  <a:pt x="11235" y="0"/>
                </a:cubicBezTo>
                <a:lnTo>
                  <a:pt x="10365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36" name="LOGO@2x.png" descr="LOGO@2x.png">
            <a:extLst>
              <a:ext uri="{FF2B5EF4-FFF2-40B4-BE49-F238E27FC236}">
                <a16:creationId xmlns:a16="http://schemas.microsoft.com/office/drawing/2014/main" id="{9C505BB7-859E-497F-B96E-635500893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27" y="341933"/>
            <a:ext cx="863592" cy="4507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2BD21E-10FF-4089-80E7-F50BD3F2F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1825" y="3765550"/>
            <a:ext cx="3810000" cy="365125"/>
          </a:xfrm>
          <a:ln w="12700">
            <a:miter lim="400000"/>
          </a:ln>
        </p:spPr>
        <p:txBody>
          <a:bodyPr lIns="50800" tIns="50800" rIns="50800" bIns="50800">
            <a:noAutofit/>
          </a:bodyPr>
          <a:lstStyle>
            <a:lvl1pPr>
              <a:defRPr lang="fr-FR" dirty="0" smtClean="0">
                <a:solidFill>
                  <a:srgbClr val="01BF7D"/>
                </a:solidFill>
              </a:defRPr>
            </a:lvl1pPr>
          </a:lstStyle>
          <a:p>
            <a:pPr marL="0" lvl="0" indent="0" defTabSz="2438338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E454B2AB-14FE-45CB-B5E3-1E65D209C0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5" y="4508500"/>
            <a:ext cx="3365500" cy="300038"/>
          </a:xfrm>
          <a:ln w="12700">
            <a:miter lim="400000"/>
          </a:ln>
        </p:spPr>
        <p:txBody>
          <a:bodyPr lIns="25400" tIns="25400" rIns="25400" bIns="25400"/>
          <a:lstStyle>
            <a:lvl1pPr marL="0" indent="0">
              <a:buNone/>
              <a:defRPr lang="fr-FR" sz="1000" kern="0" dirty="0" smtClean="0">
                <a:solidFill>
                  <a:srgbClr val="46496A"/>
                </a:solidFill>
                <a:ea typeface="Jost Regular"/>
              </a:defRPr>
            </a:lvl1pPr>
          </a:lstStyle>
          <a:p>
            <a:pPr marL="0" lvl="0" defTabSz="457200" eaLnBrk="1" hangingPunct="0">
              <a:spcBef>
                <a:spcPts val="30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A6EC59-7EAF-424C-9316-596D5EAC24AE}"/>
              </a:ext>
            </a:extLst>
          </p:cNvPr>
          <p:cNvSpPr/>
          <p:nvPr userDrawn="1"/>
        </p:nvSpPr>
        <p:spPr>
          <a:xfrm>
            <a:off x="10491893" y="143287"/>
            <a:ext cx="1564640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F06086-8B88-402D-B73C-8AAB379434DB}"/>
              </a:ext>
            </a:extLst>
          </p:cNvPr>
          <p:cNvSpPr/>
          <p:nvPr userDrawn="1"/>
        </p:nvSpPr>
        <p:spPr>
          <a:xfrm>
            <a:off x="560624" y="6171890"/>
            <a:ext cx="2670255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grpSp>
        <p:nvGrpSpPr>
          <p:cNvPr id="28" name="Groupe">
            <a:extLst>
              <a:ext uri="{FF2B5EF4-FFF2-40B4-BE49-F238E27FC236}">
                <a16:creationId xmlns:a16="http://schemas.microsoft.com/office/drawing/2014/main" id="{45498778-1C8C-470B-9539-0642537C177B}"/>
              </a:ext>
            </a:extLst>
          </p:cNvPr>
          <p:cNvGrpSpPr/>
          <p:nvPr userDrawn="1"/>
        </p:nvGrpSpPr>
        <p:grpSpPr>
          <a:xfrm>
            <a:off x="635867" y="5646731"/>
            <a:ext cx="4075851" cy="581192"/>
            <a:chOff x="0" y="0"/>
            <a:chExt cx="8151699" cy="1162382"/>
          </a:xfrm>
        </p:grpSpPr>
        <p:pic>
          <p:nvPicPr>
            <p:cNvPr id="29" name="Picture 13" descr="Picture 13">
              <a:extLst>
                <a:ext uri="{FF2B5EF4-FFF2-40B4-BE49-F238E27FC236}">
                  <a16:creationId xmlns:a16="http://schemas.microsoft.com/office/drawing/2014/main" id="{19D682FF-DD13-43D0-922C-AE53B3984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2653" y="75921"/>
              <a:ext cx="1986393" cy="10061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0" name="Picture 2" descr="Picture 2">
              <a:extLst>
                <a:ext uri="{FF2B5EF4-FFF2-40B4-BE49-F238E27FC236}">
                  <a16:creationId xmlns:a16="http://schemas.microsoft.com/office/drawing/2014/main" id="{DD8D5505-D5D6-4F31-B59B-61E2AD2D5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3304" y="0"/>
              <a:ext cx="1157999" cy="11579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1" name="Picture 4" descr="Picture 4">
              <a:extLst>
                <a:ext uri="{FF2B5EF4-FFF2-40B4-BE49-F238E27FC236}">
                  <a16:creationId xmlns:a16="http://schemas.microsoft.com/office/drawing/2014/main" id="{A32BA820-4F0F-4797-AEFA-A2B7E5BDC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1509"/>
              <a:ext cx="905810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2" name="Groupe 1">
              <a:extLst>
                <a:ext uri="{FF2B5EF4-FFF2-40B4-BE49-F238E27FC236}">
                  <a16:creationId xmlns:a16="http://schemas.microsoft.com/office/drawing/2014/main" id="{3B62F090-7E0E-40D6-9039-DB8E6DE74161}"/>
                </a:ext>
              </a:extLst>
            </p:cNvPr>
            <p:cNvGrpSpPr/>
            <p:nvPr/>
          </p:nvGrpSpPr>
          <p:grpSpPr>
            <a:xfrm>
              <a:off x="7066788" y="135804"/>
              <a:ext cx="1084912" cy="1006156"/>
              <a:chOff x="0" y="0"/>
              <a:chExt cx="1084911" cy="1006154"/>
            </a:xfrm>
          </p:grpSpPr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281CBCA-B16F-4427-BA94-684D41F84BF8}"/>
                  </a:ext>
                </a:extLst>
              </p:cNvPr>
              <p:cNvSpPr/>
              <p:nvPr/>
            </p:nvSpPr>
            <p:spPr>
              <a:xfrm>
                <a:off x="371279" y="421105"/>
                <a:ext cx="713633" cy="585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371BC819-1438-4C70-B217-D8C9BDB904E9}"/>
                  </a:ext>
                </a:extLst>
              </p:cNvPr>
              <p:cNvSpPr/>
              <p:nvPr/>
            </p:nvSpPr>
            <p:spPr>
              <a:xfrm>
                <a:off x="-1" y="0"/>
                <a:ext cx="1084913" cy="9164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33" name="Picture 2" descr="Picture 2">
              <a:extLst>
                <a:ext uri="{FF2B5EF4-FFF2-40B4-BE49-F238E27FC236}">
                  <a16:creationId xmlns:a16="http://schemas.microsoft.com/office/drawing/2014/main" id="{6FF1F7D1-DDE4-4D3F-9F78-FDBE9E64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78797" y="44056"/>
              <a:ext cx="1118327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C1CDDCEE-10FE-47FA-897A-B875849248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25" y="1895475"/>
            <a:ext cx="5021263" cy="165893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617693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00"/>
                            </p:stCondLst>
                            <p:childTnLst>
                              <p:par>
                                <p:cTn id="14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 advAuto="0"/>
      <p:bldP spid="36" grpId="0" animBg="1" advAuto="0"/>
      <p:bldP spid="28" grpId="0" animBg="1" advAuto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A48D71-4BCE-4955-BC77-14B8712334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E096FF0-F289-4916-8753-8A267249FE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F7B84EC-F8BC-4466-95A7-2FDA7A6333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2673A49-537F-42C1-82C9-424114547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EF89392-634D-4894-A9F2-59BA9E28F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418634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A97C9B2-9466-4566-80F8-29E16D117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9DFAF48-17B3-47D0-84EC-5B2F155592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EF3F305-02D0-46BA-9C36-ED88D7682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F37F38C-6592-4D6A-A4B2-BFAFD5CF9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BCFE933-CE27-4E0D-AD46-11BAA7ACA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95845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6CC3073-1AD8-4863-81DA-935BEAD3E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F0DD8F6-0167-42D9-AFFF-CD01FC4AA5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EBD0AF2-2264-4106-9633-E4143BB31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83AEC80-7A49-4654-90B0-26256FAB3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41B1B9-A746-4235-A714-D8A42FA3E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33043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2925660-3EB2-42DC-B74C-B36D987EA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9B0E6F8-5CA5-4E08-B19A-D3F0F46BEE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3C2E65C-FF65-4038-A88A-8BE28AF06D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2383B47-617E-4C84-A0BD-4A6745E188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8B651DA-9F0D-4C00-8C2E-F67801073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5B1E7D2-752D-4C04-929C-8114928F1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92724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5F1D199-7C8F-47B1-932E-F184CB417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59287FF-A31B-4467-88BD-3516EB08B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D677FD2-79EB-4BDE-BB1C-F1D7329F56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9492D4D-08F0-45AA-A6FF-3EB0C709E5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1628E72-EF46-47D5-8AF2-77490B0027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2FCC664E-616D-4566-94BC-EBCEE3B46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628C25B-57FD-4F50-99BA-90174FF0B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4F04DC5-FB3D-49A7-B14A-02D066C1B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8262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C05C336-38A2-4D4E-BBD1-A43E87B7D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213AA2-73C4-4650-91FB-0E738BF17C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D655256-50A1-4380-B52A-016E2E4F6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03A8461-2F99-4AFD-99CD-A45D9D9F8F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19540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A5BE982-4E1A-4833-9FBA-48DAC2FD9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6373938-998B-47B9-95B2-89A7950B1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BD45CB1-7064-4873-9EE8-07EDF498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64488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C77DE6D-B697-4A15-9515-8A02BE69F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7EA3C11-5BDA-4B10-86DC-F291052145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6D6BD8F-E9FD-4343-8DF9-2841E4F803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E42C219-2C72-48D3-BDE7-0D3D78601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49DA409-AEDF-4F40-B3C1-DD5C0A2C7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9501773-2834-40FC-B477-6304A7CD0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91964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7B3F2FD-1C11-4E23-93D5-94B34A3BE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3507AC71-4CDF-4392-BC1C-1C139B942D8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8405BF7-40D1-4C0F-A2E1-251E01E0C0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385D0DF-6A94-4E84-9DA6-0CB59D02CD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0B8711C-FF82-4D8A-A407-BC815362D6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0ECA7AB-C242-4BF4-8EA3-29F4521F0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0892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3A9E3A3-5D4F-4FE2-BE16-D0E3D0E76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00495ED-DACC-43E7-A2B4-4DFE8F4526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F0FF467-BEDD-47C6-95D3-ECEB24B69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75F6326-AEA5-4B4A-A33E-EA4C649D78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5AF78A4-F6CD-4BFC-BEC0-494C2C949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8136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@2x.png" descr="O@2x.png">
            <a:extLst>
              <a:ext uri="{FF2B5EF4-FFF2-40B4-BE49-F238E27FC236}">
                <a16:creationId xmlns:a16="http://schemas.microsoft.com/office/drawing/2014/main" id="{7D582A9F-7C34-426F-87D7-0BFB45F775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F5146E3-D69E-467F-91E5-7B4E9217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Numéro de diapositive">
            <a:extLst>
              <a:ext uri="{FF2B5EF4-FFF2-40B4-BE49-F238E27FC236}">
                <a16:creationId xmlns:a16="http://schemas.microsoft.com/office/drawing/2014/main" id="{2DA982C4-FB89-4EEB-98D1-A4CE7F8C399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04539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FD85009A-D531-48ED-9D63-5F22D9E422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C6F9E102-6036-4BC8-95CF-CF9B2312F4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F943664-C98E-425F-88F1-A2657E30A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5BC8A97-915C-4ED1-8B57-BC32BDF0C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935B1A5-526A-4B6C-A0B7-2BCC04E88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53165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6" name="img01.png" descr="img01.png">
            <a:extLst>
              <a:ext uri="{FF2B5EF4-FFF2-40B4-BE49-F238E27FC236}">
                <a16:creationId xmlns:a16="http://schemas.microsoft.com/office/drawing/2014/main" id="{9873A52F-2833-493B-AB10-E80DE72838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48849" y="635727"/>
            <a:ext cx="8898335" cy="5586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65" y="0"/>
                </a:moveTo>
                <a:cubicBezTo>
                  <a:pt x="7413" y="0"/>
                  <a:pt x="5642" y="0"/>
                  <a:pt x="4461" y="651"/>
                </a:cubicBezTo>
                <a:cubicBezTo>
                  <a:pt x="2578" y="1743"/>
                  <a:pt x="1094" y="4106"/>
                  <a:pt x="409" y="7106"/>
                </a:cubicBezTo>
                <a:cubicBezTo>
                  <a:pt x="138" y="8290"/>
                  <a:pt x="0" y="9540"/>
                  <a:pt x="0" y="10800"/>
                </a:cubicBezTo>
                <a:cubicBezTo>
                  <a:pt x="0" y="12060"/>
                  <a:pt x="138" y="13310"/>
                  <a:pt x="409" y="14494"/>
                </a:cubicBezTo>
                <a:cubicBezTo>
                  <a:pt x="1094" y="17494"/>
                  <a:pt x="2578" y="19857"/>
                  <a:pt x="4461" y="20949"/>
                </a:cubicBezTo>
                <a:cubicBezTo>
                  <a:pt x="5642" y="21600"/>
                  <a:pt x="7413" y="21600"/>
                  <a:pt x="10365" y="21600"/>
                </a:cubicBezTo>
                <a:lnTo>
                  <a:pt x="11235" y="21600"/>
                </a:lnTo>
                <a:cubicBezTo>
                  <a:pt x="14187" y="21600"/>
                  <a:pt x="15958" y="21600"/>
                  <a:pt x="17139" y="20949"/>
                </a:cubicBezTo>
                <a:cubicBezTo>
                  <a:pt x="19022" y="19857"/>
                  <a:pt x="20506" y="17494"/>
                  <a:pt x="21191" y="14494"/>
                </a:cubicBezTo>
                <a:cubicBezTo>
                  <a:pt x="21462" y="13310"/>
                  <a:pt x="21600" y="12060"/>
                  <a:pt x="21600" y="10800"/>
                </a:cubicBezTo>
                <a:cubicBezTo>
                  <a:pt x="21600" y="9540"/>
                  <a:pt x="21462" y="8290"/>
                  <a:pt x="21191" y="7106"/>
                </a:cubicBezTo>
                <a:cubicBezTo>
                  <a:pt x="20506" y="4106"/>
                  <a:pt x="19022" y="1743"/>
                  <a:pt x="17139" y="651"/>
                </a:cubicBezTo>
                <a:cubicBezTo>
                  <a:pt x="15958" y="0"/>
                  <a:pt x="14187" y="0"/>
                  <a:pt x="11235" y="0"/>
                </a:cubicBezTo>
                <a:lnTo>
                  <a:pt x="10365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36" name="LOGO@2x.png" descr="LOGO@2x.png">
            <a:extLst>
              <a:ext uri="{FF2B5EF4-FFF2-40B4-BE49-F238E27FC236}">
                <a16:creationId xmlns:a16="http://schemas.microsoft.com/office/drawing/2014/main" id="{9C505BB7-859E-497F-B96E-635500893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27" y="341933"/>
            <a:ext cx="863592" cy="4507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2BD21E-10FF-4089-80E7-F50BD3F2F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1825" y="3765550"/>
            <a:ext cx="3810000" cy="365125"/>
          </a:xfrm>
          <a:ln w="12700">
            <a:miter lim="400000"/>
          </a:ln>
        </p:spPr>
        <p:txBody>
          <a:bodyPr lIns="50800" tIns="50800" rIns="50800" bIns="50800">
            <a:noAutofit/>
          </a:bodyPr>
          <a:lstStyle>
            <a:lvl1pPr>
              <a:defRPr lang="fr-FR" dirty="0" smtClean="0">
                <a:solidFill>
                  <a:srgbClr val="01BF7D"/>
                </a:solidFill>
              </a:defRPr>
            </a:lvl1pPr>
          </a:lstStyle>
          <a:p>
            <a:pPr marL="0" lvl="0" indent="0" defTabSz="2438338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E454B2AB-14FE-45CB-B5E3-1E65D209C0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5" y="4508500"/>
            <a:ext cx="3365500" cy="300038"/>
          </a:xfrm>
          <a:ln w="12700">
            <a:miter lim="400000"/>
          </a:ln>
        </p:spPr>
        <p:txBody>
          <a:bodyPr lIns="25400" tIns="25400" rIns="25400" bIns="25400"/>
          <a:lstStyle>
            <a:lvl1pPr marL="0" indent="0">
              <a:buNone/>
              <a:defRPr lang="fr-FR" sz="1000" kern="0" dirty="0" smtClean="0">
                <a:solidFill>
                  <a:srgbClr val="46496A"/>
                </a:solidFill>
                <a:ea typeface="Jost Regular"/>
              </a:defRPr>
            </a:lvl1pPr>
          </a:lstStyle>
          <a:p>
            <a:pPr marL="0" lvl="0" defTabSz="457200" eaLnBrk="1" hangingPunct="0">
              <a:spcBef>
                <a:spcPts val="30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A6EC59-7EAF-424C-9316-596D5EAC24AE}"/>
              </a:ext>
            </a:extLst>
          </p:cNvPr>
          <p:cNvSpPr/>
          <p:nvPr userDrawn="1"/>
        </p:nvSpPr>
        <p:spPr>
          <a:xfrm>
            <a:off x="10491893" y="143287"/>
            <a:ext cx="1564640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F06086-8B88-402D-B73C-8AAB379434DB}"/>
              </a:ext>
            </a:extLst>
          </p:cNvPr>
          <p:cNvSpPr/>
          <p:nvPr userDrawn="1"/>
        </p:nvSpPr>
        <p:spPr>
          <a:xfrm>
            <a:off x="560624" y="6171890"/>
            <a:ext cx="2670255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grpSp>
        <p:nvGrpSpPr>
          <p:cNvPr id="28" name="Groupe">
            <a:extLst>
              <a:ext uri="{FF2B5EF4-FFF2-40B4-BE49-F238E27FC236}">
                <a16:creationId xmlns:a16="http://schemas.microsoft.com/office/drawing/2014/main" id="{45498778-1C8C-470B-9539-0642537C177B}"/>
              </a:ext>
            </a:extLst>
          </p:cNvPr>
          <p:cNvGrpSpPr/>
          <p:nvPr userDrawn="1"/>
        </p:nvGrpSpPr>
        <p:grpSpPr>
          <a:xfrm>
            <a:off x="635867" y="5646731"/>
            <a:ext cx="4075851" cy="581192"/>
            <a:chOff x="0" y="0"/>
            <a:chExt cx="8151699" cy="1162382"/>
          </a:xfrm>
        </p:grpSpPr>
        <p:pic>
          <p:nvPicPr>
            <p:cNvPr id="29" name="Picture 13" descr="Picture 13">
              <a:extLst>
                <a:ext uri="{FF2B5EF4-FFF2-40B4-BE49-F238E27FC236}">
                  <a16:creationId xmlns:a16="http://schemas.microsoft.com/office/drawing/2014/main" id="{19D682FF-DD13-43D0-922C-AE53B3984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2653" y="75921"/>
              <a:ext cx="1986393" cy="10061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0" name="Picture 2" descr="Picture 2">
              <a:extLst>
                <a:ext uri="{FF2B5EF4-FFF2-40B4-BE49-F238E27FC236}">
                  <a16:creationId xmlns:a16="http://schemas.microsoft.com/office/drawing/2014/main" id="{DD8D5505-D5D6-4F31-B59B-61E2AD2D5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3304" y="0"/>
              <a:ext cx="1157999" cy="11579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1" name="Picture 4" descr="Picture 4">
              <a:extLst>
                <a:ext uri="{FF2B5EF4-FFF2-40B4-BE49-F238E27FC236}">
                  <a16:creationId xmlns:a16="http://schemas.microsoft.com/office/drawing/2014/main" id="{A32BA820-4F0F-4797-AEFA-A2B7E5BDC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1509"/>
              <a:ext cx="905810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2" name="Groupe 1">
              <a:extLst>
                <a:ext uri="{FF2B5EF4-FFF2-40B4-BE49-F238E27FC236}">
                  <a16:creationId xmlns:a16="http://schemas.microsoft.com/office/drawing/2014/main" id="{3B62F090-7E0E-40D6-9039-DB8E6DE74161}"/>
                </a:ext>
              </a:extLst>
            </p:cNvPr>
            <p:cNvGrpSpPr/>
            <p:nvPr/>
          </p:nvGrpSpPr>
          <p:grpSpPr>
            <a:xfrm>
              <a:off x="7066788" y="135804"/>
              <a:ext cx="1084912" cy="1006156"/>
              <a:chOff x="0" y="0"/>
              <a:chExt cx="1084911" cy="1006154"/>
            </a:xfrm>
          </p:grpSpPr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281CBCA-B16F-4427-BA94-684D41F84BF8}"/>
                  </a:ext>
                </a:extLst>
              </p:cNvPr>
              <p:cNvSpPr/>
              <p:nvPr/>
            </p:nvSpPr>
            <p:spPr>
              <a:xfrm>
                <a:off x="371279" y="421105"/>
                <a:ext cx="713633" cy="585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371BC819-1438-4C70-B217-D8C9BDB904E9}"/>
                  </a:ext>
                </a:extLst>
              </p:cNvPr>
              <p:cNvSpPr/>
              <p:nvPr/>
            </p:nvSpPr>
            <p:spPr>
              <a:xfrm>
                <a:off x="-1" y="0"/>
                <a:ext cx="1084913" cy="9164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33" name="Picture 2" descr="Picture 2">
              <a:extLst>
                <a:ext uri="{FF2B5EF4-FFF2-40B4-BE49-F238E27FC236}">
                  <a16:creationId xmlns:a16="http://schemas.microsoft.com/office/drawing/2014/main" id="{6FF1F7D1-DDE4-4D3F-9F78-FDBE9E64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78797" y="44056"/>
              <a:ext cx="1118327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C1CDDCEE-10FE-47FA-897A-B875849248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25" y="1895475"/>
            <a:ext cx="5021263" cy="165893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8575508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00"/>
                            </p:stCondLst>
                            <p:childTnLst>
                              <p:par>
                                <p:cTn id="14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 advAuto="0"/>
      <p:bldP spid="36" grpId="0" animBg="1" advAuto="0"/>
      <p:bldP spid="28" grpId="0" animBg="1" advAuto="0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550200" y="1395307"/>
            <a:ext cx="11038550" cy="4856951"/>
          </a:xfrm>
          <a:prstGeom prst="rect">
            <a:avLst/>
          </a:prstGeom>
        </p:spPr>
        <p:txBody>
          <a:bodyPr numCol="2" spcCol="1098550"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DFE706-43D9-47E2-B507-FBED41E27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>
                <a:latin typeface="Corbel" panose="020B05030202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2352931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re de section"/>
          <p:cNvSpPr txBox="1">
            <a:spLocks noGrp="1"/>
          </p:cNvSpPr>
          <p:nvPr>
            <p:ph type="title" hasCustomPrompt="1"/>
          </p:nvPr>
        </p:nvSpPr>
        <p:spPr>
          <a:xfrm>
            <a:off x="603248" y="2266950"/>
            <a:ext cx="10985502" cy="2324100"/>
          </a:xfrm>
          <a:prstGeom prst="rect">
            <a:avLst/>
          </a:prstGeom>
        </p:spPr>
        <p:txBody>
          <a:bodyPr anchor="ctr"/>
          <a:lstStyle>
            <a:lvl1pPr>
              <a:defRPr sz="5800" spc="-116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1pPr>
          </a:lstStyle>
          <a:p>
            <a:r>
              <a:rPr err="1"/>
              <a:t>Titre</a:t>
            </a:r>
            <a:r>
              <a:t> de section</a:t>
            </a:r>
          </a:p>
        </p:txBody>
      </p:sp>
      <p:sp>
        <p:nvSpPr>
          <p:cNvPr id="72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9603"/>
            <a:ext cx="211596" cy="21031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6499212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t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Auteur et date</a:t>
            </a:r>
          </a:p>
        </p:txBody>
      </p:sp>
      <p:sp>
        <p:nvSpPr>
          <p:cNvPr id="12" name="Titre de la présentation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70000"/>
              </a:lnSpc>
              <a:defRPr sz="5000" spc="0">
                <a:latin typeface="+mj-lt"/>
                <a:ea typeface="+mj-ea"/>
                <a:cs typeface="+mj-cs"/>
                <a:sym typeface="Jost SemiBold"/>
              </a:defRPr>
            </a:lvl1pPr>
          </a:lstStyle>
          <a:p>
            <a:r>
              <a:t>Titre de la présentation</a:t>
            </a:r>
          </a:p>
        </p:txBody>
      </p:sp>
      <p:sp>
        <p:nvSpPr>
          <p:cNvPr id="13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Sous-titre de la présentation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2351993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6" name="img01.png" descr="img01.png">
            <a:extLst>
              <a:ext uri="{FF2B5EF4-FFF2-40B4-BE49-F238E27FC236}">
                <a16:creationId xmlns:a16="http://schemas.microsoft.com/office/drawing/2014/main" id="{9873A52F-2833-493B-AB10-E80DE72838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48849" y="635727"/>
            <a:ext cx="8898335" cy="5586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65" y="0"/>
                </a:moveTo>
                <a:cubicBezTo>
                  <a:pt x="7413" y="0"/>
                  <a:pt x="5642" y="0"/>
                  <a:pt x="4461" y="651"/>
                </a:cubicBezTo>
                <a:cubicBezTo>
                  <a:pt x="2578" y="1743"/>
                  <a:pt x="1094" y="4106"/>
                  <a:pt x="409" y="7106"/>
                </a:cubicBezTo>
                <a:cubicBezTo>
                  <a:pt x="138" y="8290"/>
                  <a:pt x="0" y="9540"/>
                  <a:pt x="0" y="10800"/>
                </a:cubicBezTo>
                <a:cubicBezTo>
                  <a:pt x="0" y="12060"/>
                  <a:pt x="138" y="13310"/>
                  <a:pt x="409" y="14494"/>
                </a:cubicBezTo>
                <a:cubicBezTo>
                  <a:pt x="1094" y="17494"/>
                  <a:pt x="2578" y="19857"/>
                  <a:pt x="4461" y="20949"/>
                </a:cubicBezTo>
                <a:cubicBezTo>
                  <a:pt x="5642" y="21600"/>
                  <a:pt x="7413" y="21600"/>
                  <a:pt x="10365" y="21600"/>
                </a:cubicBezTo>
                <a:lnTo>
                  <a:pt x="11235" y="21600"/>
                </a:lnTo>
                <a:cubicBezTo>
                  <a:pt x="14187" y="21600"/>
                  <a:pt x="15958" y="21600"/>
                  <a:pt x="17139" y="20949"/>
                </a:cubicBezTo>
                <a:cubicBezTo>
                  <a:pt x="19022" y="19857"/>
                  <a:pt x="20506" y="17494"/>
                  <a:pt x="21191" y="14494"/>
                </a:cubicBezTo>
                <a:cubicBezTo>
                  <a:pt x="21462" y="13310"/>
                  <a:pt x="21600" y="12060"/>
                  <a:pt x="21600" y="10800"/>
                </a:cubicBezTo>
                <a:cubicBezTo>
                  <a:pt x="21600" y="9540"/>
                  <a:pt x="21462" y="8290"/>
                  <a:pt x="21191" y="7106"/>
                </a:cubicBezTo>
                <a:cubicBezTo>
                  <a:pt x="20506" y="4106"/>
                  <a:pt x="19022" y="1743"/>
                  <a:pt x="17139" y="651"/>
                </a:cubicBezTo>
                <a:cubicBezTo>
                  <a:pt x="15958" y="0"/>
                  <a:pt x="14187" y="0"/>
                  <a:pt x="11235" y="0"/>
                </a:cubicBezTo>
                <a:lnTo>
                  <a:pt x="10365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36" name="LOGO@2x.png" descr="LOGO@2x.png">
            <a:extLst>
              <a:ext uri="{FF2B5EF4-FFF2-40B4-BE49-F238E27FC236}">
                <a16:creationId xmlns:a16="http://schemas.microsoft.com/office/drawing/2014/main" id="{9C505BB7-859E-497F-B96E-635500893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27" y="341933"/>
            <a:ext cx="863592" cy="4507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2BD21E-10FF-4089-80E7-F50BD3F2F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1825" y="3765550"/>
            <a:ext cx="3810000" cy="365125"/>
          </a:xfrm>
          <a:ln w="12700">
            <a:miter lim="400000"/>
          </a:ln>
        </p:spPr>
        <p:txBody>
          <a:bodyPr lIns="50800" tIns="50800" rIns="50800" bIns="50800">
            <a:noAutofit/>
          </a:bodyPr>
          <a:lstStyle>
            <a:lvl1pPr>
              <a:defRPr lang="fr-FR" dirty="0" smtClean="0">
                <a:solidFill>
                  <a:srgbClr val="01BF7D"/>
                </a:solidFill>
              </a:defRPr>
            </a:lvl1pPr>
          </a:lstStyle>
          <a:p>
            <a:pPr marL="0" lvl="0" indent="0" defTabSz="2438338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E454B2AB-14FE-45CB-B5E3-1E65D209C0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5" y="4508500"/>
            <a:ext cx="3365500" cy="300038"/>
          </a:xfrm>
          <a:ln w="12700">
            <a:miter lim="400000"/>
          </a:ln>
        </p:spPr>
        <p:txBody>
          <a:bodyPr lIns="25400" tIns="25400" rIns="25400" bIns="25400"/>
          <a:lstStyle>
            <a:lvl1pPr marL="0" indent="0">
              <a:buNone/>
              <a:defRPr lang="fr-FR" sz="1000" kern="0" dirty="0" smtClean="0">
                <a:solidFill>
                  <a:srgbClr val="46496A"/>
                </a:solidFill>
                <a:ea typeface="Jost Regular"/>
              </a:defRPr>
            </a:lvl1pPr>
          </a:lstStyle>
          <a:p>
            <a:pPr marL="0" lvl="0" defTabSz="457200" eaLnBrk="1" hangingPunct="0">
              <a:spcBef>
                <a:spcPts val="30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A6EC59-7EAF-424C-9316-596D5EAC24AE}"/>
              </a:ext>
            </a:extLst>
          </p:cNvPr>
          <p:cNvSpPr/>
          <p:nvPr userDrawn="1"/>
        </p:nvSpPr>
        <p:spPr>
          <a:xfrm>
            <a:off x="10491893" y="143287"/>
            <a:ext cx="1564640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F06086-8B88-402D-B73C-8AAB379434DB}"/>
              </a:ext>
            </a:extLst>
          </p:cNvPr>
          <p:cNvSpPr/>
          <p:nvPr userDrawn="1"/>
        </p:nvSpPr>
        <p:spPr>
          <a:xfrm>
            <a:off x="560624" y="6171890"/>
            <a:ext cx="2670255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grpSp>
        <p:nvGrpSpPr>
          <p:cNvPr id="28" name="Groupe">
            <a:extLst>
              <a:ext uri="{FF2B5EF4-FFF2-40B4-BE49-F238E27FC236}">
                <a16:creationId xmlns:a16="http://schemas.microsoft.com/office/drawing/2014/main" id="{45498778-1C8C-470B-9539-0642537C177B}"/>
              </a:ext>
            </a:extLst>
          </p:cNvPr>
          <p:cNvGrpSpPr/>
          <p:nvPr userDrawn="1"/>
        </p:nvGrpSpPr>
        <p:grpSpPr>
          <a:xfrm>
            <a:off x="635867" y="5646731"/>
            <a:ext cx="4075851" cy="581192"/>
            <a:chOff x="0" y="0"/>
            <a:chExt cx="8151699" cy="1162382"/>
          </a:xfrm>
        </p:grpSpPr>
        <p:pic>
          <p:nvPicPr>
            <p:cNvPr id="29" name="Picture 13" descr="Picture 13">
              <a:extLst>
                <a:ext uri="{FF2B5EF4-FFF2-40B4-BE49-F238E27FC236}">
                  <a16:creationId xmlns:a16="http://schemas.microsoft.com/office/drawing/2014/main" id="{19D682FF-DD13-43D0-922C-AE53B3984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2653" y="75921"/>
              <a:ext cx="1986393" cy="10061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0" name="Picture 2" descr="Picture 2">
              <a:extLst>
                <a:ext uri="{FF2B5EF4-FFF2-40B4-BE49-F238E27FC236}">
                  <a16:creationId xmlns:a16="http://schemas.microsoft.com/office/drawing/2014/main" id="{DD8D5505-D5D6-4F31-B59B-61E2AD2D5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3304" y="0"/>
              <a:ext cx="1157999" cy="11579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1" name="Picture 4" descr="Picture 4">
              <a:extLst>
                <a:ext uri="{FF2B5EF4-FFF2-40B4-BE49-F238E27FC236}">
                  <a16:creationId xmlns:a16="http://schemas.microsoft.com/office/drawing/2014/main" id="{A32BA820-4F0F-4797-AEFA-A2B7E5BDC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1509"/>
              <a:ext cx="905810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2" name="Groupe 1">
              <a:extLst>
                <a:ext uri="{FF2B5EF4-FFF2-40B4-BE49-F238E27FC236}">
                  <a16:creationId xmlns:a16="http://schemas.microsoft.com/office/drawing/2014/main" id="{3B62F090-7E0E-40D6-9039-DB8E6DE74161}"/>
                </a:ext>
              </a:extLst>
            </p:cNvPr>
            <p:cNvGrpSpPr/>
            <p:nvPr/>
          </p:nvGrpSpPr>
          <p:grpSpPr>
            <a:xfrm>
              <a:off x="7066788" y="135804"/>
              <a:ext cx="1084912" cy="1006156"/>
              <a:chOff x="0" y="0"/>
              <a:chExt cx="1084911" cy="1006154"/>
            </a:xfrm>
          </p:grpSpPr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281CBCA-B16F-4427-BA94-684D41F84BF8}"/>
                  </a:ext>
                </a:extLst>
              </p:cNvPr>
              <p:cNvSpPr/>
              <p:nvPr/>
            </p:nvSpPr>
            <p:spPr>
              <a:xfrm>
                <a:off x="371279" y="421105"/>
                <a:ext cx="713633" cy="585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371BC819-1438-4C70-B217-D8C9BDB904E9}"/>
                  </a:ext>
                </a:extLst>
              </p:cNvPr>
              <p:cNvSpPr/>
              <p:nvPr/>
            </p:nvSpPr>
            <p:spPr>
              <a:xfrm>
                <a:off x="-1" y="0"/>
                <a:ext cx="1084913" cy="9164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33" name="Picture 2" descr="Picture 2">
              <a:extLst>
                <a:ext uri="{FF2B5EF4-FFF2-40B4-BE49-F238E27FC236}">
                  <a16:creationId xmlns:a16="http://schemas.microsoft.com/office/drawing/2014/main" id="{6FF1F7D1-DDE4-4D3F-9F78-FDBE9E64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78797" y="44056"/>
              <a:ext cx="1118327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C1CDDCEE-10FE-47FA-897A-B875849248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25" y="1895475"/>
            <a:ext cx="5021263" cy="165893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5165658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00"/>
                            </p:stCondLst>
                            <p:childTnLst>
                              <p:par>
                                <p:cTn id="14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 advAuto="0"/>
      <p:bldP spid="36" grpId="0" animBg="1" advAuto="0"/>
      <p:bldP spid="28" grpId="0" animBg="1" advAuto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@2x.png" descr="O@2x.png">
            <a:extLst>
              <a:ext uri="{FF2B5EF4-FFF2-40B4-BE49-F238E27FC236}">
                <a16:creationId xmlns:a16="http://schemas.microsoft.com/office/drawing/2014/main" id="{7D582A9F-7C34-426F-87D7-0BFB45F775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F5146E3-D69E-467F-91E5-7B4E9217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Numéro de diapositive">
            <a:extLst>
              <a:ext uri="{FF2B5EF4-FFF2-40B4-BE49-F238E27FC236}">
                <a16:creationId xmlns:a16="http://schemas.microsoft.com/office/drawing/2014/main" id="{FD40D26E-DEA8-4579-B5BE-827B10545DF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3538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DFE706-43D9-47E2-B507-FBED41E27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827006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ous-titre de diapositiv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Sous-</a:t>
            </a:r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44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6" name="O@2x.png" descr="O@2x.png">
            <a:extLst>
              <a:ext uri="{FF2B5EF4-FFF2-40B4-BE49-F238E27FC236}">
                <a16:creationId xmlns:a16="http://schemas.microsoft.com/office/drawing/2014/main" id="{78D73670-3F4A-452D-B0A0-452554A323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1CA6F36-5C96-441C-8DB6-EB18BF8B5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972619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200" y="0"/>
            <a:ext cx="11091600" cy="1104900"/>
          </a:xfrm>
        </p:spPr>
        <p:txBody>
          <a:bodyPr tIns="180000"/>
          <a:lstStyle>
            <a:lvl1pPr>
              <a:spcBef>
                <a:spcPts val="0"/>
              </a:spcBef>
              <a:defRPr spc="200" baseline="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550200" y="1148607"/>
            <a:ext cx="11091600" cy="5040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spc="-11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Numéro de diapositive">
            <a:extLst>
              <a:ext uri="{FF2B5EF4-FFF2-40B4-BE49-F238E27FC236}">
                <a16:creationId xmlns:a16="http://schemas.microsoft.com/office/drawing/2014/main" id="{ABEAF05F-107F-42AF-87C4-8FE2C100C70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53584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re de section"/>
          <p:cNvSpPr txBox="1">
            <a:spLocks noGrp="1"/>
          </p:cNvSpPr>
          <p:nvPr>
            <p:ph type="title" hasCustomPrompt="1"/>
          </p:nvPr>
        </p:nvSpPr>
        <p:spPr>
          <a:xfrm>
            <a:off x="603248" y="2266950"/>
            <a:ext cx="10985502" cy="2324100"/>
          </a:xfrm>
          <a:prstGeom prst="rect">
            <a:avLst/>
          </a:prstGeom>
        </p:spPr>
        <p:txBody>
          <a:bodyPr anchor="ctr"/>
          <a:lstStyle>
            <a:lvl1pPr>
              <a:defRPr sz="5800" spc="-116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1pPr>
          </a:lstStyle>
          <a:p>
            <a:r>
              <a:rPr err="1"/>
              <a:t>Titre</a:t>
            </a:r>
            <a:r>
              <a:t> de section</a:t>
            </a:r>
          </a:p>
        </p:txBody>
      </p:sp>
      <p:sp>
        <p:nvSpPr>
          <p:cNvPr id="72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9603"/>
            <a:ext cx="211596" cy="21031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2906802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Numéro de diapositive">
            <a:extLst>
              <a:ext uri="{FF2B5EF4-FFF2-40B4-BE49-F238E27FC236}">
                <a16:creationId xmlns:a16="http://schemas.microsoft.com/office/drawing/2014/main" id="{295DF32C-711D-46C2-A3CB-5058EBC4376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59710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puces" type="tx">
  <p:cSld name="Titre et puces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1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body" idx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228600" lvl="0" indent="-1143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2750" b="1"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7" name="Google Shape;17;p31"/>
          <p:cNvSpPr txBox="1">
            <a:spLocks noGrp="1"/>
          </p:cNvSpPr>
          <p:nvPr>
            <p:ph type="body" idx="2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228600" lvl="0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31"/>
          <p:cNvSpPr txBox="1">
            <a:spLocks noGrp="1"/>
          </p:cNvSpPr>
          <p:nvPr>
            <p:ph type="sldNum" idx="12"/>
          </p:nvPr>
        </p:nvSpPr>
        <p:spPr>
          <a:xfrm>
            <a:off x="6012862" y="6302042"/>
            <a:ext cx="160028" cy="425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36467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6" name="img01.png" descr="img01.png">
            <a:extLst>
              <a:ext uri="{FF2B5EF4-FFF2-40B4-BE49-F238E27FC236}">
                <a16:creationId xmlns:a16="http://schemas.microsoft.com/office/drawing/2014/main" id="{9873A52F-2833-493B-AB10-E80DE72838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48849" y="635727"/>
            <a:ext cx="8898335" cy="5586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65" y="0"/>
                </a:moveTo>
                <a:cubicBezTo>
                  <a:pt x="7413" y="0"/>
                  <a:pt x="5642" y="0"/>
                  <a:pt x="4461" y="651"/>
                </a:cubicBezTo>
                <a:cubicBezTo>
                  <a:pt x="2578" y="1743"/>
                  <a:pt x="1094" y="4106"/>
                  <a:pt x="409" y="7106"/>
                </a:cubicBezTo>
                <a:cubicBezTo>
                  <a:pt x="138" y="8290"/>
                  <a:pt x="0" y="9540"/>
                  <a:pt x="0" y="10800"/>
                </a:cubicBezTo>
                <a:cubicBezTo>
                  <a:pt x="0" y="12060"/>
                  <a:pt x="138" y="13310"/>
                  <a:pt x="409" y="14494"/>
                </a:cubicBezTo>
                <a:cubicBezTo>
                  <a:pt x="1094" y="17494"/>
                  <a:pt x="2578" y="19857"/>
                  <a:pt x="4461" y="20949"/>
                </a:cubicBezTo>
                <a:cubicBezTo>
                  <a:pt x="5642" y="21600"/>
                  <a:pt x="7413" y="21600"/>
                  <a:pt x="10365" y="21600"/>
                </a:cubicBezTo>
                <a:lnTo>
                  <a:pt x="11235" y="21600"/>
                </a:lnTo>
                <a:cubicBezTo>
                  <a:pt x="14187" y="21600"/>
                  <a:pt x="15958" y="21600"/>
                  <a:pt x="17139" y="20949"/>
                </a:cubicBezTo>
                <a:cubicBezTo>
                  <a:pt x="19022" y="19857"/>
                  <a:pt x="20506" y="17494"/>
                  <a:pt x="21191" y="14494"/>
                </a:cubicBezTo>
                <a:cubicBezTo>
                  <a:pt x="21462" y="13310"/>
                  <a:pt x="21600" y="12060"/>
                  <a:pt x="21600" y="10800"/>
                </a:cubicBezTo>
                <a:cubicBezTo>
                  <a:pt x="21600" y="9540"/>
                  <a:pt x="21462" y="8290"/>
                  <a:pt x="21191" y="7106"/>
                </a:cubicBezTo>
                <a:cubicBezTo>
                  <a:pt x="20506" y="4106"/>
                  <a:pt x="19022" y="1743"/>
                  <a:pt x="17139" y="651"/>
                </a:cubicBezTo>
                <a:cubicBezTo>
                  <a:pt x="15958" y="0"/>
                  <a:pt x="14187" y="0"/>
                  <a:pt x="11235" y="0"/>
                </a:cubicBezTo>
                <a:lnTo>
                  <a:pt x="10365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36" name="LOGO@2x.png" descr="LOGO@2x.png">
            <a:extLst>
              <a:ext uri="{FF2B5EF4-FFF2-40B4-BE49-F238E27FC236}">
                <a16:creationId xmlns:a16="http://schemas.microsoft.com/office/drawing/2014/main" id="{9C505BB7-859E-497F-B96E-635500893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27" y="341933"/>
            <a:ext cx="863592" cy="4507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2BD21E-10FF-4089-80E7-F50BD3F2F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1825" y="3765550"/>
            <a:ext cx="3810000" cy="365125"/>
          </a:xfrm>
          <a:ln w="12700">
            <a:miter lim="400000"/>
          </a:ln>
        </p:spPr>
        <p:txBody>
          <a:bodyPr lIns="50800" tIns="50800" rIns="50800" bIns="50800">
            <a:noAutofit/>
          </a:bodyPr>
          <a:lstStyle>
            <a:lvl1pPr>
              <a:defRPr lang="fr-FR" dirty="0" smtClean="0">
                <a:solidFill>
                  <a:srgbClr val="01BF7D"/>
                </a:solidFill>
              </a:defRPr>
            </a:lvl1pPr>
          </a:lstStyle>
          <a:p>
            <a:pPr marL="0" lvl="0" indent="0" defTabSz="2438338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E454B2AB-14FE-45CB-B5E3-1E65D209C0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5" y="4508500"/>
            <a:ext cx="3365500" cy="300038"/>
          </a:xfrm>
          <a:ln w="12700">
            <a:miter lim="400000"/>
          </a:ln>
        </p:spPr>
        <p:txBody>
          <a:bodyPr lIns="25400" tIns="25400" rIns="25400" bIns="25400"/>
          <a:lstStyle>
            <a:lvl1pPr marL="0" indent="0">
              <a:buNone/>
              <a:defRPr lang="fr-FR" sz="1000" kern="0" dirty="0" smtClean="0">
                <a:solidFill>
                  <a:srgbClr val="46496A"/>
                </a:solidFill>
                <a:ea typeface="Jost Regular"/>
              </a:defRPr>
            </a:lvl1pPr>
          </a:lstStyle>
          <a:p>
            <a:pPr marL="0" lvl="0" defTabSz="457200" eaLnBrk="1" hangingPunct="0">
              <a:spcBef>
                <a:spcPts val="30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A6EC59-7EAF-424C-9316-596D5EAC24AE}"/>
              </a:ext>
            </a:extLst>
          </p:cNvPr>
          <p:cNvSpPr/>
          <p:nvPr userDrawn="1"/>
        </p:nvSpPr>
        <p:spPr>
          <a:xfrm>
            <a:off x="10491893" y="143287"/>
            <a:ext cx="1564640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F06086-8B88-402D-B73C-8AAB379434DB}"/>
              </a:ext>
            </a:extLst>
          </p:cNvPr>
          <p:cNvSpPr/>
          <p:nvPr userDrawn="1"/>
        </p:nvSpPr>
        <p:spPr>
          <a:xfrm>
            <a:off x="560624" y="6171890"/>
            <a:ext cx="2670255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grpSp>
        <p:nvGrpSpPr>
          <p:cNvPr id="28" name="Groupe">
            <a:extLst>
              <a:ext uri="{FF2B5EF4-FFF2-40B4-BE49-F238E27FC236}">
                <a16:creationId xmlns:a16="http://schemas.microsoft.com/office/drawing/2014/main" id="{45498778-1C8C-470B-9539-0642537C177B}"/>
              </a:ext>
            </a:extLst>
          </p:cNvPr>
          <p:cNvGrpSpPr/>
          <p:nvPr userDrawn="1"/>
        </p:nvGrpSpPr>
        <p:grpSpPr>
          <a:xfrm>
            <a:off x="635867" y="5646731"/>
            <a:ext cx="4075851" cy="581192"/>
            <a:chOff x="0" y="0"/>
            <a:chExt cx="8151699" cy="1162382"/>
          </a:xfrm>
        </p:grpSpPr>
        <p:pic>
          <p:nvPicPr>
            <p:cNvPr id="29" name="Picture 13" descr="Picture 13">
              <a:extLst>
                <a:ext uri="{FF2B5EF4-FFF2-40B4-BE49-F238E27FC236}">
                  <a16:creationId xmlns:a16="http://schemas.microsoft.com/office/drawing/2014/main" id="{19D682FF-DD13-43D0-922C-AE53B3984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2653" y="75921"/>
              <a:ext cx="1986393" cy="10061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0" name="Picture 2" descr="Picture 2">
              <a:extLst>
                <a:ext uri="{FF2B5EF4-FFF2-40B4-BE49-F238E27FC236}">
                  <a16:creationId xmlns:a16="http://schemas.microsoft.com/office/drawing/2014/main" id="{DD8D5505-D5D6-4F31-B59B-61E2AD2D5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3304" y="0"/>
              <a:ext cx="1157999" cy="11579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1" name="Picture 4" descr="Picture 4">
              <a:extLst>
                <a:ext uri="{FF2B5EF4-FFF2-40B4-BE49-F238E27FC236}">
                  <a16:creationId xmlns:a16="http://schemas.microsoft.com/office/drawing/2014/main" id="{A32BA820-4F0F-4797-AEFA-A2B7E5BDC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1509"/>
              <a:ext cx="905810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2" name="Groupe 1">
              <a:extLst>
                <a:ext uri="{FF2B5EF4-FFF2-40B4-BE49-F238E27FC236}">
                  <a16:creationId xmlns:a16="http://schemas.microsoft.com/office/drawing/2014/main" id="{3B62F090-7E0E-40D6-9039-DB8E6DE74161}"/>
                </a:ext>
              </a:extLst>
            </p:cNvPr>
            <p:cNvGrpSpPr/>
            <p:nvPr/>
          </p:nvGrpSpPr>
          <p:grpSpPr>
            <a:xfrm>
              <a:off x="7066788" y="135804"/>
              <a:ext cx="1084912" cy="1006156"/>
              <a:chOff x="0" y="0"/>
              <a:chExt cx="1084911" cy="1006154"/>
            </a:xfrm>
          </p:grpSpPr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281CBCA-B16F-4427-BA94-684D41F84BF8}"/>
                  </a:ext>
                </a:extLst>
              </p:cNvPr>
              <p:cNvSpPr/>
              <p:nvPr/>
            </p:nvSpPr>
            <p:spPr>
              <a:xfrm>
                <a:off x="371279" y="421105"/>
                <a:ext cx="713633" cy="585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371BC819-1438-4C70-B217-D8C9BDB904E9}"/>
                  </a:ext>
                </a:extLst>
              </p:cNvPr>
              <p:cNvSpPr/>
              <p:nvPr/>
            </p:nvSpPr>
            <p:spPr>
              <a:xfrm>
                <a:off x="-1" y="0"/>
                <a:ext cx="1084913" cy="9164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33" name="Picture 2" descr="Picture 2">
              <a:extLst>
                <a:ext uri="{FF2B5EF4-FFF2-40B4-BE49-F238E27FC236}">
                  <a16:creationId xmlns:a16="http://schemas.microsoft.com/office/drawing/2014/main" id="{6FF1F7D1-DDE4-4D3F-9F78-FDBE9E64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78797" y="44056"/>
              <a:ext cx="1118327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C1CDDCEE-10FE-47FA-897A-B875849248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25" y="1895475"/>
            <a:ext cx="5021263" cy="165893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8349108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00"/>
                            </p:stCondLst>
                            <p:childTnLst>
                              <p:par>
                                <p:cTn id="14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 advAuto="0"/>
      <p:bldP spid="36" grpId="0" animBg="1" advAuto="0"/>
      <p:bldP spid="28" grpId="0" animBg="1" advAuto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@2x.png" descr="O@2x.png">
            <a:extLst>
              <a:ext uri="{FF2B5EF4-FFF2-40B4-BE49-F238E27FC236}">
                <a16:creationId xmlns:a16="http://schemas.microsoft.com/office/drawing/2014/main" id="{7D582A9F-7C34-426F-87D7-0BFB45F775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F5146E3-D69E-467F-91E5-7B4E9217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Numéro de diapositive">
            <a:extLst>
              <a:ext uri="{FF2B5EF4-FFF2-40B4-BE49-F238E27FC236}">
                <a16:creationId xmlns:a16="http://schemas.microsoft.com/office/drawing/2014/main" id="{2DA982C4-FB89-4EEB-98D1-A4CE7F8C399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27518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t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Auteur et date</a:t>
            </a:r>
          </a:p>
        </p:txBody>
      </p:sp>
      <p:sp>
        <p:nvSpPr>
          <p:cNvPr id="12" name="Titre de la présentation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70000"/>
              </a:lnSpc>
              <a:defRPr sz="5000" spc="0">
                <a:latin typeface="+mj-lt"/>
                <a:ea typeface="+mj-ea"/>
                <a:cs typeface="+mj-cs"/>
                <a:sym typeface="Jost SemiBold"/>
              </a:defRPr>
            </a:lvl1pPr>
          </a:lstStyle>
          <a:p>
            <a:r>
              <a:t>Titre de la présentation</a:t>
            </a:r>
          </a:p>
        </p:txBody>
      </p:sp>
      <p:sp>
        <p:nvSpPr>
          <p:cNvPr id="13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Sous-titre de la présentation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5412500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@2x.png" descr="O@2x.png">
            <a:extLst>
              <a:ext uri="{FF2B5EF4-FFF2-40B4-BE49-F238E27FC236}">
                <a16:creationId xmlns:a16="http://schemas.microsoft.com/office/drawing/2014/main" id="{7D582A9F-7C34-426F-87D7-0BFB45F775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F5146E3-D69E-467F-91E5-7B4E9217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Numéro de diapositive">
            <a:extLst>
              <a:ext uri="{FF2B5EF4-FFF2-40B4-BE49-F238E27FC236}">
                <a16:creationId xmlns:a16="http://schemas.microsoft.com/office/drawing/2014/main" id="{FD40D26E-DEA8-4579-B5BE-827B10545DF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77869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DFE706-43D9-47E2-B507-FBED41E27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539321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ous-titre de diapositiv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Sous-</a:t>
            </a:r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44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6" name="O@2x.png" descr="O@2x.png">
            <a:extLst>
              <a:ext uri="{FF2B5EF4-FFF2-40B4-BE49-F238E27FC236}">
                <a16:creationId xmlns:a16="http://schemas.microsoft.com/office/drawing/2014/main" id="{78D73670-3F4A-452D-B0A0-452554A323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1CA6F36-5C96-441C-8DB6-EB18BF8B5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872569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200" y="0"/>
            <a:ext cx="11091600" cy="1104900"/>
          </a:xfrm>
        </p:spPr>
        <p:txBody>
          <a:bodyPr tIns="180000"/>
          <a:lstStyle>
            <a:lvl1pPr>
              <a:spcBef>
                <a:spcPts val="0"/>
              </a:spcBef>
              <a:defRPr spc="200" baseline="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550200" y="1148607"/>
            <a:ext cx="11091600" cy="5040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spc="-11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Numéro de diapositive">
            <a:extLst>
              <a:ext uri="{FF2B5EF4-FFF2-40B4-BE49-F238E27FC236}">
                <a16:creationId xmlns:a16="http://schemas.microsoft.com/office/drawing/2014/main" id="{ABEAF05F-107F-42AF-87C4-8FE2C100C70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513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Numéro de diapositive">
            <a:extLst>
              <a:ext uri="{FF2B5EF4-FFF2-40B4-BE49-F238E27FC236}">
                <a16:creationId xmlns:a16="http://schemas.microsoft.com/office/drawing/2014/main" id="{295DF32C-711D-46C2-A3CB-5058EBC4376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2892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6" name="img01.png" descr="img01.png">
            <a:extLst>
              <a:ext uri="{FF2B5EF4-FFF2-40B4-BE49-F238E27FC236}">
                <a16:creationId xmlns:a16="http://schemas.microsoft.com/office/drawing/2014/main" id="{9873A52F-2833-493B-AB10-E80DE72838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48849" y="635727"/>
            <a:ext cx="8898335" cy="5586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65" y="0"/>
                </a:moveTo>
                <a:cubicBezTo>
                  <a:pt x="7413" y="0"/>
                  <a:pt x="5642" y="0"/>
                  <a:pt x="4461" y="651"/>
                </a:cubicBezTo>
                <a:cubicBezTo>
                  <a:pt x="2578" y="1743"/>
                  <a:pt x="1094" y="4106"/>
                  <a:pt x="409" y="7106"/>
                </a:cubicBezTo>
                <a:cubicBezTo>
                  <a:pt x="138" y="8290"/>
                  <a:pt x="0" y="9540"/>
                  <a:pt x="0" y="10800"/>
                </a:cubicBezTo>
                <a:cubicBezTo>
                  <a:pt x="0" y="12060"/>
                  <a:pt x="138" y="13310"/>
                  <a:pt x="409" y="14494"/>
                </a:cubicBezTo>
                <a:cubicBezTo>
                  <a:pt x="1094" y="17494"/>
                  <a:pt x="2578" y="19857"/>
                  <a:pt x="4461" y="20949"/>
                </a:cubicBezTo>
                <a:cubicBezTo>
                  <a:pt x="5642" y="21600"/>
                  <a:pt x="7413" y="21600"/>
                  <a:pt x="10365" y="21600"/>
                </a:cubicBezTo>
                <a:lnTo>
                  <a:pt x="11235" y="21600"/>
                </a:lnTo>
                <a:cubicBezTo>
                  <a:pt x="14187" y="21600"/>
                  <a:pt x="15958" y="21600"/>
                  <a:pt x="17139" y="20949"/>
                </a:cubicBezTo>
                <a:cubicBezTo>
                  <a:pt x="19022" y="19857"/>
                  <a:pt x="20506" y="17494"/>
                  <a:pt x="21191" y="14494"/>
                </a:cubicBezTo>
                <a:cubicBezTo>
                  <a:pt x="21462" y="13310"/>
                  <a:pt x="21600" y="12060"/>
                  <a:pt x="21600" y="10800"/>
                </a:cubicBezTo>
                <a:cubicBezTo>
                  <a:pt x="21600" y="9540"/>
                  <a:pt x="21462" y="8290"/>
                  <a:pt x="21191" y="7106"/>
                </a:cubicBezTo>
                <a:cubicBezTo>
                  <a:pt x="20506" y="4106"/>
                  <a:pt x="19022" y="1743"/>
                  <a:pt x="17139" y="651"/>
                </a:cubicBezTo>
                <a:cubicBezTo>
                  <a:pt x="15958" y="0"/>
                  <a:pt x="14187" y="0"/>
                  <a:pt x="11235" y="0"/>
                </a:cubicBezTo>
                <a:lnTo>
                  <a:pt x="10365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36" name="LOGO@2x.png" descr="LOGO@2x.png">
            <a:extLst>
              <a:ext uri="{FF2B5EF4-FFF2-40B4-BE49-F238E27FC236}">
                <a16:creationId xmlns:a16="http://schemas.microsoft.com/office/drawing/2014/main" id="{9C505BB7-859E-497F-B96E-635500893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27" y="341933"/>
            <a:ext cx="863592" cy="4507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2BD21E-10FF-4089-80E7-F50BD3F2F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1825" y="3765550"/>
            <a:ext cx="3810000" cy="365125"/>
          </a:xfrm>
          <a:ln w="12700">
            <a:miter lim="400000"/>
          </a:ln>
        </p:spPr>
        <p:txBody>
          <a:bodyPr lIns="50800" tIns="50800" rIns="50800" bIns="50800">
            <a:noAutofit/>
          </a:bodyPr>
          <a:lstStyle>
            <a:lvl1pPr>
              <a:defRPr lang="fr-FR" dirty="0" smtClean="0">
                <a:solidFill>
                  <a:srgbClr val="01BF7D"/>
                </a:solidFill>
              </a:defRPr>
            </a:lvl1pPr>
          </a:lstStyle>
          <a:p>
            <a:pPr marL="0" lvl="0" indent="0" defTabSz="2438338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E454B2AB-14FE-45CB-B5E3-1E65D209C0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5" y="4508500"/>
            <a:ext cx="3365500" cy="300038"/>
          </a:xfrm>
          <a:ln w="12700">
            <a:miter lim="400000"/>
          </a:ln>
        </p:spPr>
        <p:txBody>
          <a:bodyPr lIns="25400" tIns="25400" rIns="25400" bIns="25400"/>
          <a:lstStyle>
            <a:lvl1pPr marL="0" indent="0">
              <a:buNone/>
              <a:defRPr lang="fr-FR" sz="1000" kern="0" dirty="0" smtClean="0">
                <a:solidFill>
                  <a:srgbClr val="46496A"/>
                </a:solidFill>
                <a:ea typeface="Jost Regular"/>
              </a:defRPr>
            </a:lvl1pPr>
          </a:lstStyle>
          <a:p>
            <a:pPr marL="0" lvl="0" defTabSz="457200" eaLnBrk="1" hangingPunct="0">
              <a:spcBef>
                <a:spcPts val="30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A6EC59-7EAF-424C-9316-596D5EAC24AE}"/>
              </a:ext>
            </a:extLst>
          </p:cNvPr>
          <p:cNvSpPr/>
          <p:nvPr userDrawn="1"/>
        </p:nvSpPr>
        <p:spPr>
          <a:xfrm>
            <a:off x="10491893" y="143287"/>
            <a:ext cx="1564640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F06086-8B88-402D-B73C-8AAB379434DB}"/>
              </a:ext>
            </a:extLst>
          </p:cNvPr>
          <p:cNvSpPr/>
          <p:nvPr userDrawn="1"/>
        </p:nvSpPr>
        <p:spPr>
          <a:xfrm>
            <a:off x="560624" y="6171890"/>
            <a:ext cx="2670255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grpSp>
        <p:nvGrpSpPr>
          <p:cNvPr id="28" name="Groupe">
            <a:extLst>
              <a:ext uri="{FF2B5EF4-FFF2-40B4-BE49-F238E27FC236}">
                <a16:creationId xmlns:a16="http://schemas.microsoft.com/office/drawing/2014/main" id="{45498778-1C8C-470B-9539-0642537C177B}"/>
              </a:ext>
            </a:extLst>
          </p:cNvPr>
          <p:cNvGrpSpPr/>
          <p:nvPr userDrawn="1"/>
        </p:nvGrpSpPr>
        <p:grpSpPr>
          <a:xfrm>
            <a:off x="635867" y="5646731"/>
            <a:ext cx="4075851" cy="581192"/>
            <a:chOff x="0" y="0"/>
            <a:chExt cx="8151699" cy="1162382"/>
          </a:xfrm>
        </p:grpSpPr>
        <p:pic>
          <p:nvPicPr>
            <p:cNvPr id="29" name="Picture 13" descr="Picture 13">
              <a:extLst>
                <a:ext uri="{FF2B5EF4-FFF2-40B4-BE49-F238E27FC236}">
                  <a16:creationId xmlns:a16="http://schemas.microsoft.com/office/drawing/2014/main" id="{19D682FF-DD13-43D0-922C-AE53B3984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2653" y="75921"/>
              <a:ext cx="1986393" cy="10061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0" name="Picture 2" descr="Picture 2">
              <a:extLst>
                <a:ext uri="{FF2B5EF4-FFF2-40B4-BE49-F238E27FC236}">
                  <a16:creationId xmlns:a16="http://schemas.microsoft.com/office/drawing/2014/main" id="{DD8D5505-D5D6-4F31-B59B-61E2AD2D5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3304" y="0"/>
              <a:ext cx="1157999" cy="11579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1" name="Picture 4" descr="Picture 4">
              <a:extLst>
                <a:ext uri="{FF2B5EF4-FFF2-40B4-BE49-F238E27FC236}">
                  <a16:creationId xmlns:a16="http://schemas.microsoft.com/office/drawing/2014/main" id="{A32BA820-4F0F-4797-AEFA-A2B7E5BDC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1509"/>
              <a:ext cx="905810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2" name="Groupe 1">
              <a:extLst>
                <a:ext uri="{FF2B5EF4-FFF2-40B4-BE49-F238E27FC236}">
                  <a16:creationId xmlns:a16="http://schemas.microsoft.com/office/drawing/2014/main" id="{3B62F090-7E0E-40D6-9039-DB8E6DE74161}"/>
                </a:ext>
              </a:extLst>
            </p:cNvPr>
            <p:cNvGrpSpPr/>
            <p:nvPr/>
          </p:nvGrpSpPr>
          <p:grpSpPr>
            <a:xfrm>
              <a:off x="7066788" y="135804"/>
              <a:ext cx="1084912" cy="1006156"/>
              <a:chOff x="0" y="0"/>
              <a:chExt cx="1084911" cy="1006154"/>
            </a:xfrm>
          </p:grpSpPr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281CBCA-B16F-4427-BA94-684D41F84BF8}"/>
                  </a:ext>
                </a:extLst>
              </p:cNvPr>
              <p:cNvSpPr/>
              <p:nvPr/>
            </p:nvSpPr>
            <p:spPr>
              <a:xfrm>
                <a:off x="371279" y="421105"/>
                <a:ext cx="713633" cy="585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371BC819-1438-4C70-B217-D8C9BDB904E9}"/>
                  </a:ext>
                </a:extLst>
              </p:cNvPr>
              <p:cNvSpPr/>
              <p:nvPr/>
            </p:nvSpPr>
            <p:spPr>
              <a:xfrm>
                <a:off x="-1" y="0"/>
                <a:ext cx="1084913" cy="9164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33" name="Picture 2" descr="Picture 2">
              <a:extLst>
                <a:ext uri="{FF2B5EF4-FFF2-40B4-BE49-F238E27FC236}">
                  <a16:creationId xmlns:a16="http://schemas.microsoft.com/office/drawing/2014/main" id="{6FF1F7D1-DDE4-4D3F-9F78-FDBE9E64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78797" y="44056"/>
              <a:ext cx="1118327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C1CDDCEE-10FE-47FA-897A-B875849248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25" y="1895475"/>
            <a:ext cx="5021263" cy="165893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1186388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00"/>
                            </p:stCondLst>
                            <p:childTnLst>
                              <p:par>
                                <p:cTn id="14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 advAuto="0"/>
      <p:bldP spid="36" grpId="0" animBg="1" advAuto="0"/>
      <p:bldP spid="28" grpId="0" animBg="1" advAuto="0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puces" type="tx">
  <p:cSld name="Titre et puces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1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body" idx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228600" lvl="0" indent="-1143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2750" b="1"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7" name="Google Shape;17;p31"/>
          <p:cNvSpPr txBox="1">
            <a:spLocks noGrp="1"/>
          </p:cNvSpPr>
          <p:nvPr>
            <p:ph type="body" idx="2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228600" lvl="0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31"/>
          <p:cNvSpPr txBox="1">
            <a:spLocks noGrp="1"/>
          </p:cNvSpPr>
          <p:nvPr>
            <p:ph type="sldNum" idx="12"/>
          </p:nvPr>
        </p:nvSpPr>
        <p:spPr>
          <a:xfrm>
            <a:off x="6012862" y="6302042"/>
            <a:ext cx="160028" cy="425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55510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6" name="img01.png" descr="img01.png">
            <a:extLst>
              <a:ext uri="{FF2B5EF4-FFF2-40B4-BE49-F238E27FC236}">
                <a16:creationId xmlns:a16="http://schemas.microsoft.com/office/drawing/2014/main" id="{9873A52F-2833-493B-AB10-E80DE72838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7046" t="12191" r="17817" b="26593"/>
          <a:stretch>
            <a:fillRect/>
          </a:stretch>
        </p:blipFill>
        <p:spPr>
          <a:xfrm>
            <a:off x="6448850" y="635728"/>
            <a:ext cx="8898335" cy="5586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65" y="0"/>
                </a:moveTo>
                <a:cubicBezTo>
                  <a:pt x="7413" y="0"/>
                  <a:pt x="5642" y="0"/>
                  <a:pt x="4461" y="651"/>
                </a:cubicBezTo>
                <a:cubicBezTo>
                  <a:pt x="2578" y="1743"/>
                  <a:pt x="1094" y="4106"/>
                  <a:pt x="409" y="7106"/>
                </a:cubicBezTo>
                <a:cubicBezTo>
                  <a:pt x="138" y="8290"/>
                  <a:pt x="0" y="9540"/>
                  <a:pt x="0" y="10800"/>
                </a:cubicBezTo>
                <a:cubicBezTo>
                  <a:pt x="0" y="12060"/>
                  <a:pt x="138" y="13310"/>
                  <a:pt x="409" y="14494"/>
                </a:cubicBezTo>
                <a:cubicBezTo>
                  <a:pt x="1094" y="17494"/>
                  <a:pt x="2578" y="19857"/>
                  <a:pt x="4461" y="20949"/>
                </a:cubicBezTo>
                <a:cubicBezTo>
                  <a:pt x="5642" y="21600"/>
                  <a:pt x="7413" y="21600"/>
                  <a:pt x="10365" y="21600"/>
                </a:cubicBezTo>
                <a:lnTo>
                  <a:pt x="11235" y="21600"/>
                </a:lnTo>
                <a:cubicBezTo>
                  <a:pt x="14187" y="21600"/>
                  <a:pt x="15958" y="21600"/>
                  <a:pt x="17139" y="20949"/>
                </a:cubicBezTo>
                <a:cubicBezTo>
                  <a:pt x="19022" y="19857"/>
                  <a:pt x="20506" y="17494"/>
                  <a:pt x="21191" y="14494"/>
                </a:cubicBezTo>
                <a:cubicBezTo>
                  <a:pt x="21462" y="13310"/>
                  <a:pt x="21600" y="12060"/>
                  <a:pt x="21600" y="10800"/>
                </a:cubicBezTo>
                <a:cubicBezTo>
                  <a:pt x="21600" y="9540"/>
                  <a:pt x="21462" y="8290"/>
                  <a:pt x="21191" y="7106"/>
                </a:cubicBezTo>
                <a:cubicBezTo>
                  <a:pt x="20506" y="4106"/>
                  <a:pt x="19022" y="1743"/>
                  <a:pt x="17139" y="651"/>
                </a:cubicBezTo>
                <a:cubicBezTo>
                  <a:pt x="15958" y="0"/>
                  <a:pt x="14187" y="0"/>
                  <a:pt x="11235" y="0"/>
                </a:cubicBezTo>
                <a:lnTo>
                  <a:pt x="10365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36" name="LOGO@2x.png" descr="LOGO@2x.png">
            <a:extLst>
              <a:ext uri="{FF2B5EF4-FFF2-40B4-BE49-F238E27FC236}">
                <a16:creationId xmlns:a16="http://schemas.microsoft.com/office/drawing/2014/main" id="{9C505BB7-859E-497F-B96E-6355008938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4327" y="341934"/>
            <a:ext cx="863592" cy="4507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2BD21E-10FF-4089-80E7-F50BD3F2F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1825" y="3765550"/>
            <a:ext cx="3810000" cy="365125"/>
          </a:xfrm>
          <a:ln w="12700">
            <a:miter lim="400000"/>
          </a:ln>
        </p:spPr>
        <p:txBody>
          <a:bodyPr lIns="50800" tIns="50800" rIns="50800" bIns="50800">
            <a:noAutofit/>
          </a:bodyPr>
          <a:lstStyle>
            <a:lvl1pPr>
              <a:defRPr lang="fr-FR" dirty="0" smtClean="0">
                <a:solidFill>
                  <a:srgbClr val="01BF7D"/>
                </a:solidFill>
              </a:defRPr>
            </a:lvl1pPr>
          </a:lstStyle>
          <a:p>
            <a:pPr marL="0" lvl="0" indent="0" defTabSz="2438338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E454B2AB-14FE-45CB-B5E3-1E65D209C0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5" y="4508500"/>
            <a:ext cx="3365500" cy="300038"/>
          </a:xfrm>
          <a:ln w="12700">
            <a:miter lim="400000"/>
          </a:ln>
        </p:spPr>
        <p:txBody>
          <a:bodyPr lIns="25400" tIns="25400" rIns="25400" bIns="25400"/>
          <a:lstStyle>
            <a:lvl1pPr marL="0" indent="0">
              <a:buNone/>
              <a:defRPr lang="fr-FR" sz="1000" kern="0" dirty="0" smtClean="0">
                <a:solidFill>
                  <a:srgbClr val="46496A"/>
                </a:solidFill>
                <a:ea typeface="Jost Regular"/>
              </a:defRPr>
            </a:lvl1pPr>
          </a:lstStyle>
          <a:p>
            <a:pPr marL="0" lvl="0" defTabSz="457200" eaLnBrk="1" hangingPunct="0">
              <a:spcBef>
                <a:spcPts val="30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A6EC59-7EAF-424C-9316-596D5EAC24AE}"/>
              </a:ext>
            </a:extLst>
          </p:cNvPr>
          <p:cNvSpPr/>
          <p:nvPr userDrawn="1"/>
        </p:nvSpPr>
        <p:spPr>
          <a:xfrm>
            <a:off x="10491893" y="194257"/>
            <a:ext cx="1564640" cy="34881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F06086-8B88-402D-B73C-8AAB379434DB}"/>
              </a:ext>
            </a:extLst>
          </p:cNvPr>
          <p:cNvSpPr/>
          <p:nvPr userDrawn="1"/>
        </p:nvSpPr>
        <p:spPr>
          <a:xfrm>
            <a:off x="560625" y="6222860"/>
            <a:ext cx="2670255" cy="34881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grpSp>
        <p:nvGrpSpPr>
          <p:cNvPr id="28" name="Groupe">
            <a:extLst>
              <a:ext uri="{FF2B5EF4-FFF2-40B4-BE49-F238E27FC236}">
                <a16:creationId xmlns:a16="http://schemas.microsoft.com/office/drawing/2014/main" id="{45498778-1C8C-470B-9539-0642537C177B}"/>
              </a:ext>
            </a:extLst>
          </p:cNvPr>
          <p:cNvGrpSpPr/>
          <p:nvPr userDrawn="1"/>
        </p:nvGrpSpPr>
        <p:grpSpPr>
          <a:xfrm>
            <a:off x="635868" y="5646731"/>
            <a:ext cx="4075851" cy="581192"/>
            <a:chOff x="0" y="0"/>
            <a:chExt cx="8151699" cy="1162382"/>
          </a:xfrm>
        </p:grpSpPr>
        <p:pic>
          <p:nvPicPr>
            <p:cNvPr id="29" name="Picture 13" descr="Picture 13">
              <a:extLst>
                <a:ext uri="{FF2B5EF4-FFF2-40B4-BE49-F238E27FC236}">
                  <a16:creationId xmlns:a16="http://schemas.microsoft.com/office/drawing/2014/main" id="{19D682FF-DD13-43D0-922C-AE53B3984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52653" y="75921"/>
              <a:ext cx="1986393" cy="10061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0" name="Picture 2" descr="Picture 2">
              <a:extLst>
                <a:ext uri="{FF2B5EF4-FFF2-40B4-BE49-F238E27FC236}">
                  <a16:creationId xmlns:a16="http://schemas.microsoft.com/office/drawing/2014/main" id="{DD8D5505-D5D6-4F31-B59B-61E2AD2D5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3304" y="0"/>
              <a:ext cx="1157999" cy="11579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1" name="Picture 4" descr="Picture 4">
              <a:extLst>
                <a:ext uri="{FF2B5EF4-FFF2-40B4-BE49-F238E27FC236}">
                  <a16:creationId xmlns:a16="http://schemas.microsoft.com/office/drawing/2014/main" id="{A32BA820-4F0F-4797-AEFA-A2B7E5BDC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21509"/>
              <a:ext cx="905810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2" name="Groupe 1">
              <a:extLst>
                <a:ext uri="{FF2B5EF4-FFF2-40B4-BE49-F238E27FC236}">
                  <a16:creationId xmlns:a16="http://schemas.microsoft.com/office/drawing/2014/main" id="{3B62F090-7E0E-40D6-9039-DB8E6DE74161}"/>
                </a:ext>
              </a:extLst>
            </p:cNvPr>
            <p:cNvGrpSpPr/>
            <p:nvPr/>
          </p:nvGrpSpPr>
          <p:grpSpPr>
            <a:xfrm>
              <a:off x="7066788" y="135804"/>
              <a:ext cx="1084912" cy="1006156"/>
              <a:chOff x="0" y="0"/>
              <a:chExt cx="1084911" cy="1006154"/>
            </a:xfrm>
          </p:grpSpPr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281CBCA-B16F-4427-BA94-684D41F84BF8}"/>
                  </a:ext>
                </a:extLst>
              </p:cNvPr>
              <p:cNvSpPr/>
              <p:nvPr/>
            </p:nvSpPr>
            <p:spPr>
              <a:xfrm>
                <a:off x="371279" y="421105"/>
                <a:ext cx="713633" cy="585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371BC819-1438-4C70-B217-D8C9BDB904E9}"/>
                  </a:ext>
                </a:extLst>
              </p:cNvPr>
              <p:cNvSpPr/>
              <p:nvPr/>
            </p:nvSpPr>
            <p:spPr>
              <a:xfrm>
                <a:off x="-1" y="0"/>
                <a:ext cx="1084913" cy="9164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33" name="Picture 2" descr="Picture 2">
              <a:extLst>
                <a:ext uri="{FF2B5EF4-FFF2-40B4-BE49-F238E27FC236}">
                  <a16:creationId xmlns:a16="http://schemas.microsoft.com/office/drawing/2014/main" id="{6FF1F7D1-DDE4-4D3F-9F78-FDBE9E64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78797" y="44056"/>
              <a:ext cx="1118327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C1CDDCEE-10FE-47FA-897A-B875849248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26" y="1895475"/>
            <a:ext cx="5021263" cy="165893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638555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00"/>
                            </p:stCondLst>
                            <p:childTnLst>
                              <p:par>
                                <p:cTn id="14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 advAuto="0"/>
      <p:bldP spid="36" grpId="0" animBg="1" advAuto="0"/>
      <p:bldP spid="28" grpId="0" animBg="1" advAuto="0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ous-titre de diapositiv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Sous-</a:t>
            </a:r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44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6" name="O@2x.png" descr="O@2x.png">
            <a:extLst>
              <a:ext uri="{FF2B5EF4-FFF2-40B4-BE49-F238E27FC236}">
                <a16:creationId xmlns:a16="http://schemas.microsoft.com/office/drawing/2014/main" id="{78D73670-3F4A-452D-B0A0-452554A323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59013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1CA6F36-5C96-441C-8DB6-EB18BF8B5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175688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FF5146E3-D69E-467F-91E5-7B4E9217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89742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, puces e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ous-titre de diapositiv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4889500" cy="46739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Sous-</a:t>
            </a:r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61" name="Texte niveau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3250" y="2124252"/>
            <a:ext cx="4889500" cy="412831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2" name="660384004_1290x1720.jpg"/>
          <p:cNvSpPr>
            <a:spLocks noGrp="1"/>
          </p:cNvSpPr>
          <p:nvPr>
            <p:ph type="pic" idx="22"/>
          </p:nvPr>
        </p:nvSpPr>
        <p:spPr>
          <a:xfrm>
            <a:off x="6096001" y="-203633"/>
            <a:ext cx="5458437" cy="727791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>
            <a:lvl1pPr>
              <a:defRPr sz="1600"/>
            </a:lvl1pPr>
          </a:lstStyle>
          <a:p>
            <a:endParaRPr/>
          </a:p>
        </p:txBody>
      </p:sp>
      <p:sp>
        <p:nvSpPr>
          <p:cNvPr id="63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4889500" cy="717550"/>
          </a:xfrm>
          <a:prstGeom prst="rect">
            <a:avLst/>
          </a:prstGeom>
        </p:spPr>
        <p:txBody>
          <a:bodyPr/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6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4590829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utre titre e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21"/>
          </p:nvPr>
        </p:nvSpPr>
        <p:spPr>
          <a:xfrm>
            <a:off x="5486401" y="-101600"/>
            <a:ext cx="6072419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635001"/>
            <a:ext cx="4889500" cy="2941137"/>
          </a:xfrm>
          <a:prstGeom prst="rect">
            <a:avLst/>
          </a:prstGeom>
        </p:spPr>
        <p:txBody>
          <a:bodyPr anchor="b"/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34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3250" y="3530288"/>
            <a:ext cx="4889500" cy="2692712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Sous-titr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9603"/>
            <a:ext cx="248466" cy="21031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7944452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re de section"/>
          <p:cNvSpPr txBox="1">
            <a:spLocks noGrp="1"/>
          </p:cNvSpPr>
          <p:nvPr>
            <p:ph type="title" hasCustomPrompt="1"/>
          </p:nvPr>
        </p:nvSpPr>
        <p:spPr>
          <a:xfrm>
            <a:off x="603248" y="2266950"/>
            <a:ext cx="10985502" cy="2324100"/>
          </a:xfrm>
          <a:prstGeom prst="rect">
            <a:avLst/>
          </a:prstGeom>
        </p:spPr>
        <p:txBody>
          <a:bodyPr anchor="ctr"/>
          <a:lstStyle>
            <a:lvl1pPr>
              <a:defRPr sz="5800" spc="-116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1pPr>
          </a:lstStyle>
          <a:p>
            <a:r>
              <a:rPr err="1"/>
              <a:t>Titre</a:t>
            </a:r>
            <a:r>
              <a:t> de section</a:t>
            </a:r>
          </a:p>
        </p:txBody>
      </p:sp>
      <p:sp>
        <p:nvSpPr>
          <p:cNvPr id="72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9603"/>
            <a:ext cx="248466" cy="21031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3372322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écla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exte niveau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3250" y="2460423"/>
            <a:ext cx="10985500" cy="193715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1pPr>
            <a:lvl2pPr marL="0" indent="2286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2pPr>
            <a:lvl3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3pPr>
            <a:lvl4pPr marL="0" indent="6858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4pPr>
            <a:lvl5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5pPr>
          </a:lstStyle>
          <a:p>
            <a:r>
              <a:rPr err="1"/>
              <a:t>Déclaration</a:t>
            </a:r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9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2706568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ait impor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537964"/>
            <a:ext cx="10985500" cy="3620792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1pPr>
            <a:lvl2pPr marL="0" indent="2286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2pPr>
            <a:lvl3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3pPr>
            <a:lvl4pPr marL="0" indent="6858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4pPr>
            <a:lvl5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5pPr>
          </a:lstStyle>
          <a:p>
            <a:r>
              <a:t>100 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7" name="Données clés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4131090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rPr err="1"/>
              <a:t>Données</a:t>
            </a:r>
            <a:r>
              <a:t> </a:t>
            </a:r>
            <a:r>
              <a:rPr err="1"/>
              <a:t>clés</a:t>
            </a:r>
            <a:endParaRPr/>
          </a:p>
        </p:txBody>
      </p:sp>
      <p:sp>
        <p:nvSpPr>
          <p:cNvPr id="108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673475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Attribu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15012" y="5337727"/>
            <a:ext cx="10100026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t>Attribution</a:t>
            </a:r>
          </a:p>
        </p:txBody>
      </p:sp>
      <p:sp>
        <p:nvSpPr>
          <p:cNvPr id="116" name="Texte niveau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876962" y="2469930"/>
            <a:ext cx="10438077" cy="1918140"/>
          </a:xfrm>
          <a:prstGeom prst="rect">
            <a:avLst/>
          </a:prstGeom>
        </p:spPr>
        <p:txBody>
          <a:bodyPr/>
          <a:lstStyle>
            <a:lvl1pPr marL="319462" indent="-2349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1pPr>
            <a:lvl2pPr marL="319462" indent="-63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2pPr>
            <a:lvl3pPr marL="319462" indent="2222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3pPr>
            <a:lvl4pPr marL="319462" indent="4508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4pPr>
            <a:lvl5pPr marL="319462" indent="6794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5pPr>
          </a:lstStyle>
          <a:p>
            <a:r>
              <a:t>« Citation notable »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7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58000945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@2x.png" descr="O@2x.png">
            <a:extLst>
              <a:ext uri="{FF2B5EF4-FFF2-40B4-BE49-F238E27FC236}">
                <a16:creationId xmlns:a16="http://schemas.microsoft.com/office/drawing/2014/main" id="{7D582A9F-7C34-426F-87D7-0BFB45F775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F5146E3-D69E-467F-91E5-7B4E9217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Numéro de diapositive">
            <a:extLst>
              <a:ext uri="{FF2B5EF4-FFF2-40B4-BE49-F238E27FC236}">
                <a16:creationId xmlns:a16="http://schemas.microsoft.com/office/drawing/2014/main" id="{FD40D26E-DEA8-4579-B5BE-827B10545DF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31975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Image"/>
          <p:cNvSpPr>
            <a:spLocks noGrp="1"/>
          </p:cNvSpPr>
          <p:nvPr>
            <p:ph type="pic" idx="21"/>
          </p:nvPr>
        </p:nvSpPr>
        <p:spPr>
          <a:xfrm>
            <a:off x="-666750" y="-2762250"/>
            <a:ext cx="13525500" cy="108204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00750" y="6486709"/>
            <a:ext cx="309380" cy="24109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1416484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puces" type="tx">
  <p:cSld name="Titre et puces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1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body" idx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228600" lvl="0" indent="-1143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2750" b="1"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7" name="Google Shape;17;p31"/>
          <p:cNvSpPr txBox="1">
            <a:spLocks noGrp="1"/>
          </p:cNvSpPr>
          <p:nvPr>
            <p:ph type="body" idx="2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228600" lvl="0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31"/>
          <p:cNvSpPr txBox="1">
            <a:spLocks noGrp="1"/>
          </p:cNvSpPr>
          <p:nvPr>
            <p:ph type="sldNum" idx="12"/>
          </p:nvPr>
        </p:nvSpPr>
        <p:spPr>
          <a:xfrm>
            <a:off x="6012862" y="6302043"/>
            <a:ext cx="160028" cy="425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87535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13188301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DFE706-43D9-47E2-B507-FBED41E27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096063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550200" y="1395308"/>
            <a:ext cx="11038550" cy="4856951"/>
          </a:xfrm>
          <a:prstGeom prst="rect">
            <a:avLst/>
          </a:prstGeom>
        </p:spPr>
        <p:txBody>
          <a:bodyPr numCol="2" spcCol="1098550"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DFE706-43D9-47E2-B507-FBED41E27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>
                <a:latin typeface="Corbel" panose="020B05030202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623515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6" name="img01.png" descr="img01.png">
            <a:extLst>
              <a:ext uri="{FF2B5EF4-FFF2-40B4-BE49-F238E27FC236}">
                <a16:creationId xmlns:a16="http://schemas.microsoft.com/office/drawing/2014/main" id="{9873A52F-2833-493B-AB10-E80DE72838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48849" y="635727"/>
            <a:ext cx="8898335" cy="5586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65" y="0"/>
                </a:moveTo>
                <a:cubicBezTo>
                  <a:pt x="7413" y="0"/>
                  <a:pt x="5642" y="0"/>
                  <a:pt x="4461" y="651"/>
                </a:cubicBezTo>
                <a:cubicBezTo>
                  <a:pt x="2578" y="1743"/>
                  <a:pt x="1094" y="4106"/>
                  <a:pt x="409" y="7106"/>
                </a:cubicBezTo>
                <a:cubicBezTo>
                  <a:pt x="138" y="8290"/>
                  <a:pt x="0" y="9540"/>
                  <a:pt x="0" y="10800"/>
                </a:cubicBezTo>
                <a:cubicBezTo>
                  <a:pt x="0" y="12060"/>
                  <a:pt x="138" y="13310"/>
                  <a:pt x="409" y="14494"/>
                </a:cubicBezTo>
                <a:cubicBezTo>
                  <a:pt x="1094" y="17494"/>
                  <a:pt x="2578" y="19857"/>
                  <a:pt x="4461" y="20949"/>
                </a:cubicBezTo>
                <a:cubicBezTo>
                  <a:pt x="5642" y="21600"/>
                  <a:pt x="7413" y="21600"/>
                  <a:pt x="10365" y="21600"/>
                </a:cubicBezTo>
                <a:lnTo>
                  <a:pt x="11235" y="21600"/>
                </a:lnTo>
                <a:cubicBezTo>
                  <a:pt x="14187" y="21600"/>
                  <a:pt x="15958" y="21600"/>
                  <a:pt x="17139" y="20949"/>
                </a:cubicBezTo>
                <a:cubicBezTo>
                  <a:pt x="19022" y="19857"/>
                  <a:pt x="20506" y="17494"/>
                  <a:pt x="21191" y="14494"/>
                </a:cubicBezTo>
                <a:cubicBezTo>
                  <a:pt x="21462" y="13310"/>
                  <a:pt x="21600" y="12060"/>
                  <a:pt x="21600" y="10800"/>
                </a:cubicBezTo>
                <a:cubicBezTo>
                  <a:pt x="21600" y="9540"/>
                  <a:pt x="21462" y="8290"/>
                  <a:pt x="21191" y="7106"/>
                </a:cubicBezTo>
                <a:cubicBezTo>
                  <a:pt x="20506" y="4106"/>
                  <a:pt x="19022" y="1743"/>
                  <a:pt x="17139" y="651"/>
                </a:cubicBezTo>
                <a:cubicBezTo>
                  <a:pt x="15958" y="0"/>
                  <a:pt x="14187" y="0"/>
                  <a:pt x="11235" y="0"/>
                </a:cubicBezTo>
                <a:lnTo>
                  <a:pt x="10365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36" name="LOGO@2x.png" descr="LOGO@2x.png">
            <a:extLst>
              <a:ext uri="{FF2B5EF4-FFF2-40B4-BE49-F238E27FC236}">
                <a16:creationId xmlns:a16="http://schemas.microsoft.com/office/drawing/2014/main" id="{9C505BB7-859E-497F-B96E-635500893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27" y="341933"/>
            <a:ext cx="863592" cy="4507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2BD21E-10FF-4089-80E7-F50BD3F2F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1825" y="3765550"/>
            <a:ext cx="3810000" cy="365125"/>
          </a:xfrm>
          <a:ln w="12700">
            <a:miter lim="400000"/>
          </a:ln>
        </p:spPr>
        <p:txBody>
          <a:bodyPr lIns="50800" tIns="50800" rIns="50800" bIns="50800">
            <a:noAutofit/>
          </a:bodyPr>
          <a:lstStyle>
            <a:lvl1pPr>
              <a:defRPr lang="fr-FR" dirty="0" smtClean="0">
                <a:solidFill>
                  <a:srgbClr val="01BF7D"/>
                </a:solidFill>
              </a:defRPr>
            </a:lvl1pPr>
          </a:lstStyle>
          <a:p>
            <a:pPr marL="0" lvl="0" indent="0" defTabSz="2438338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E454B2AB-14FE-45CB-B5E3-1E65D209C0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5" y="4508500"/>
            <a:ext cx="3365500" cy="300038"/>
          </a:xfrm>
          <a:ln w="12700">
            <a:miter lim="400000"/>
          </a:ln>
        </p:spPr>
        <p:txBody>
          <a:bodyPr lIns="25400" tIns="25400" rIns="25400" bIns="25400"/>
          <a:lstStyle>
            <a:lvl1pPr marL="0" indent="0">
              <a:buNone/>
              <a:defRPr lang="fr-FR" sz="1000" kern="0" dirty="0" smtClean="0">
                <a:solidFill>
                  <a:srgbClr val="46496A"/>
                </a:solidFill>
                <a:ea typeface="Jost Regular"/>
              </a:defRPr>
            </a:lvl1pPr>
          </a:lstStyle>
          <a:p>
            <a:pPr marL="0" lvl="0" defTabSz="457200" eaLnBrk="1" hangingPunct="0">
              <a:spcBef>
                <a:spcPts val="30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A6EC59-7EAF-424C-9316-596D5EAC24AE}"/>
              </a:ext>
            </a:extLst>
          </p:cNvPr>
          <p:cNvSpPr/>
          <p:nvPr userDrawn="1"/>
        </p:nvSpPr>
        <p:spPr>
          <a:xfrm>
            <a:off x="10491893" y="143287"/>
            <a:ext cx="1564640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F06086-8B88-402D-B73C-8AAB379434DB}"/>
              </a:ext>
            </a:extLst>
          </p:cNvPr>
          <p:cNvSpPr/>
          <p:nvPr userDrawn="1"/>
        </p:nvSpPr>
        <p:spPr>
          <a:xfrm>
            <a:off x="560624" y="6171890"/>
            <a:ext cx="2670255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grpSp>
        <p:nvGrpSpPr>
          <p:cNvPr id="28" name="Groupe">
            <a:extLst>
              <a:ext uri="{FF2B5EF4-FFF2-40B4-BE49-F238E27FC236}">
                <a16:creationId xmlns:a16="http://schemas.microsoft.com/office/drawing/2014/main" id="{45498778-1C8C-470B-9539-0642537C177B}"/>
              </a:ext>
            </a:extLst>
          </p:cNvPr>
          <p:cNvGrpSpPr/>
          <p:nvPr userDrawn="1"/>
        </p:nvGrpSpPr>
        <p:grpSpPr>
          <a:xfrm>
            <a:off x="635867" y="5646731"/>
            <a:ext cx="4075851" cy="581192"/>
            <a:chOff x="0" y="0"/>
            <a:chExt cx="8151699" cy="1162382"/>
          </a:xfrm>
        </p:grpSpPr>
        <p:pic>
          <p:nvPicPr>
            <p:cNvPr id="29" name="Picture 13" descr="Picture 13">
              <a:extLst>
                <a:ext uri="{FF2B5EF4-FFF2-40B4-BE49-F238E27FC236}">
                  <a16:creationId xmlns:a16="http://schemas.microsoft.com/office/drawing/2014/main" id="{19D682FF-DD13-43D0-922C-AE53B3984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2653" y="75921"/>
              <a:ext cx="1986393" cy="10061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0" name="Picture 2" descr="Picture 2">
              <a:extLst>
                <a:ext uri="{FF2B5EF4-FFF2-40B4-BE49-F238E27FC236}">
                  <a16:creationId xmlns:a16="http://schemas.microsoft.com/office/drawing/2014/main" id="{DD8D5505-D5D6-4F31-B59B-61E2AD2D5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3304" y="0"/>
              <a:ext cx="1157999" cy="11579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1" name="Picture 4" descr="Picture 4">
              <a:extLst>
                <a:ext uri="{FF2B5EF4-FFF2-40B4-BE49-F238E27FC236}">
                  <a16:creationId xmlns:a16="http://schemas.microsoft.com/office/drawing/2014/main" id="{A32BA820-4F0F-4797-AEFA-A2B7E5BDC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1509"/>
              <a:ext cx="905810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2" name="Groupe 1">
              <a:extLst>
                <a:ext uri="{FF2B5EF4-FFF2-40B4-BE49-F238E27FC236}">
                  <a16:creationId xmlns:a16="http://schemas.microsoft.com/office/drawing/2014/main" id="{3B62F090-7E0E-40D6-9039-DB8E6DE74161}"/>
                </a:ext>
              </a:extLst>
            </p:cNvPr>
            <p:cNvGrpSpPr/>
            <p:nvPr/>
          </p:nvGrpSpPr>
          <p:grpSpPr>
            <a:xfrm>
              <a:off x="7066788" y="135804"/>
              <a:ext cx="1084912" cy="1006156"/>
              <a:chOff x="0" y="0"/>
              <a:chExt cx="1084911" cy="1006154"/>
            </a:xfrm>
          </p:grpSpPr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281CBCA-B16F-4427-BA94-684D41F84BF8}"/>
                  </a:ext>
                </a:extLst>
              </p:cNvPr>
              <p:cNvSpPr/>
              <p:nvPr/>
            </p:nvSpPr>
            <p:spPr>
              <a:xfrm>
                <a:off x="371279" y="421105"/>
                <a:ext cx="713633" cy="585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371BC819-1438-4C70-B217-D8C9BDB904E9}"/>
                  </a:ext>
                </a:extLst>
              </p:cNvPr>
              <p:cNvSpPr/>
              <p:nvPr/>
            </p:nvSpPr>
            <p:spPr>
              <a:xfrm>
                <a:off x="-1" y="0"/>
                <a:ext cx="1084913" cy="9164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33" name="Picture 2" descr="Picture 2">
              <a:extLst>
                <a:ext uri="{FF2B5EF4-FFF2-40B4-BE49-F238E27FC236}">
                  <a16:creationId xmlns:a16="http://schemas.microsoft.com/office/drawing/2014/main" id="{6FF1F7D1-DDE4-4D3F-9F78-FDBE9E64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78797" y="44056"/>
              <a:ext cx="1118327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C1CDDCEE-10FE-47FA-897A-B875849248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25" y="1895475"/>
            <a:ext cx="5021263" cy="165893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0237129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00"/>
                            </p:stCondLst>
                            <p:childTnLst>
                              <p:par>
                                <p:cTn id="14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 advAuto="0"/>
      <p:bldP spid="36" grpId="0" animBg="1" advAuto="0"/>
      <p:bldP spid="28" grpId="0" animBg="1" advAuto="0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@2x.png" descr="O@2x.png">
            <a:extLst>
              <a:ext uri="{FF2B5EF4-FFF2-40B4-BE49-F238E27FC236}">
                <a16:creationId xmlns:a16="http://schemas.microsoft.com/office/drawing/2014/main" id="{7D582A9F-7C34-426F-87D7-0BFB45F775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F5146E3-D69E-467F-91E5-7B4E9217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Numéro de diapositive">
            <a:extLst>
              <a:ext uri="{FF2B5EF4-FFF2-40B4-BE49-F238E27FC236}">
                <a16:creationId xmlns:a16="http://schemas.microsoft.com/office/drawing/2014/main" id="{2DA982C4-FB89-4EEB-98D1-A4CE7F8C399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10783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550200" y="1395307"/>
            <a:ext cx="11038550" cy="4856951"/>
          </a:xfrm>
          <a:prstGeom prst="rect">
            <a:avLst/>
          </a:prstGeom>
        </p:spPr>
        <p:txBody>
          <a:bodyPr numCol="2" spcCol="1098550"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DFE706-43D9-47E2-B507-FBED41E27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>
                <a:latin typeface="Corbel" panose="020B05030202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6248085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re de section"/>
          <p:cNvSpPr txBox="1">
            <a:spLocks noGrp="1"/>
          </p:cNvSpPr>
          <p:nvPr>
            <p:ph type="title" hasCustomPrompt="1"/>
          </p:nvPr>
        </p:nvSpPr>
        <p:spPr>
          <a:xfrm>
            <a:off x="603248" y="2266950"/>
            <a:ext cx="10985502" cy="2324100"/>
          </a:xfrm>
          <a:prstGeom prst="rect">
            <a:avLst/>
          </a:prstGeom>
        </p:spPr>
        <p:txBody>
          <a:bodyPr anchor="ctr"/>
          <a:lstStyle>
            <a:lvl1pPr>
              <a:defRPr sz="5800" spc="-116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1pPr>
          </a:lstStyle>
          <a:p>
            <a:r>
              <a:rPr err="1"/>
              <a:t>Titre</a:t>
            </a:r>
            <a:r>
              <a:t> de section</a:t>
            </a:r>
          </a:p>
        </p:txBody>
      </p:sp>
      <p:sp>
        <p:nvSpPr>
          <p:cNvPr id="72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9603"/>
            <a:ext cx="211596" cy="21031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0432688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t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Auteur et date</a:t>
            </a:r>
          </a:p>
        </p:txBody>
      </p:sp>
      <p:sp>
        <p:nvSpPr>
          <p:cNvPr id="12" name="Titre de la présentation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70000"/>
              </a:lnSpc>
              <a:defRPr sz="5000" spc="0">
                <a:latin typeface="+mj-lt"/>
                <a:ea typeface="+mj-ea"/>
                <a:cs typeface="+mj-cs"/>
                <a:sym typeface="Jost SemiBold"/>
              </a:defRPr>
            </a:lvl1pPr>
          </a:lstStyle>
          <a:p>
            <a:r>
              <a:t>Titre de la présentation</a:t>
            </a:r>
          </a:p>
        </p:txBody>
      </p:sp>
      <p:sp>
        <p:nvSpPr>
          <p:cNvPr id="13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Sous-titre de la présentation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037374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DFE706-43D9-47E2-B507-FBED41E27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3965557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6" name="img01.png" descr="img01.png">
            <a:extLst>
              <a:ext uri="{FF2B5EF4-FFF2-40B4-BE49-F238E27FC236}">
                <a16:creationId xmlns:a16="http://schemas.microsoft.com/office/drawing/2014/main" id="{9873A52F-2833-493B-AB10-E80DE72838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48849" y="635727"/>
            <a:ext cx="8898335" cy="5586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65" y="0"/>
                </a:moveTo>
                <a:cubicBezTo>
                  <a:pt x="7413" y="0"/>
                  <a:pt x="5642" y="0"/>
                  <a:pt x="4461" y="651"/>
                </a:cubicBezTo>
                <a:cubicBezTo>
                  <a:pt x="2578" y="1743"/>
                  <a:pt x="1094" y="4106"/>
                  <a:pt x="409" y="7106"/>
                </a:cubicBezTo>
                <a:cubicBezTo>
                  <a:pt x="138" y="8290"/>
                  <a:pt x="0" y="9540"/>
                  <a:pt x="0" y="10800"/>
                </a:cubicBezTo>
                <a:cubicBezTo>
                  <a:pt x="0" y="12060"/>
                  <a:pt x="138" y="13310"/>
                  <a:pt x="409" y="14494"/>
                </a:cubicBezTo>
                <a:cubicBezTo>
                  <a:pt x="1094" y="17494"/>
                  <a:pt x="2578" y="19857"/>
                  <a:pt x="4461" y="20949"/>
                </a:cubicBezTo>
                <a:cubicBezTo>
                  <a:pt x="5642" y="21600"/>
                  <a:pt x="7413" y="21600"/>
                  <a:pt x="10365" y="21600"/>
                </a:cubicBezTo>
                <a:lnTo>
                  <a:pt x="11235" y="21600"/>
                </a:lnTo>
                <a:cubicBezTo>
                  <a:pt x="14187" y="21600"/>
                  <a:pt x="15958" y="21600"/>
                  <a:pt x="17139" y="20949"/>
                </a:cubicBezTo>
                <a:cubicBezTo>
                  <a:pt x="19022" y="19857"/>
                  <a:pt x="20506" y="17494"/>
                  <a:pt x="21191" y="14494"/>
                </a:cubicBezTo>
                <a:cubicBezTo>
                  <a:pt x="21462" y="13310"/>
                  <a:pt x="21600" y="12060"/>
                  <a:pt x="21600" y="10800"/>
                </a:cubicBezTo>
                <a:cubicBezTo>
                  <a:pt x="21600" y="9540"/>
                  <a:pt x="21462" y="8290"/>
                  <a:pt x="21191" y="7106"/>
                </a:cubicBezTo>
                <a:cubicBezTo>
                  <a:pt x="20506" y="4106"/>
                  <a:pt x="19022" y="1743"/>
                  <a:pt x="17139" y="651"/>
                </a:cubicBezTo>
                <a:cubicBezTo>
                  <a:pt x="15958" y="0"/>
                  <a:pt x="14187" y="0"/>
                  <a:pt x="11235" y="0"/>
                </a:cubicBezTo>
                <a:lnTo>
                  <a:pt x="10365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36" name="LOGO@2x.png" descr="LOGO@2x.png">
            <a:extLst>
              <a:ext uri="{FF2B5EF4-FFF2-40B4-BE49-F238E27FC236}">
                <a16:creationId xmlns:a16="http://schemas.microsoft.com/office/drawing/2014/main" id="{9C505BB7-859E-497F-B96E-6355008938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27" y="341933"/>
            <a:ext cx="863592" cy="4507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2BD21E-10FF-4089-80E7-F50BD3F2F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1825" y="3765550"/>
            <a:ext cx="3810000" cy="365125"/>
          </a:xfrm>
          <a:ln w="12700">
            <a:miter lim="400000"/>
          </a:ln>
        </p:spPr>
        <p:txBody>
          <a:bodyPr lIns="50800" tIns="50800" rIns="50800" bIns="50800">
            <a:noAutofit/>
          </a:bodyPr>
          <a:lstStyle>
            <a:lvl1pPr>
              <a:defRPr lang="fr-FR" dirty="0" smtClean="0">
                <a:solidFill>
                  <a:srgbClr val="01BF7D"/>
                </a:solidFill>
              </a:defRPr>
            </a:lvl1pPr>
          </a:lstStyle>
          <a:p>
            <a:pPr marL="0" lvl="0" indent="0" defTabSz="2438338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E454B2AB-14FE-45CB-B5E3-1E65D209C0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5" y="4508500"/>
            <a:ext cx="3365500" cy="300038"/>
          </a:xfrm>
          <a:ln w="12700">
            <a:miter lim="400000"/>
          </a:ln>
        </p:spPr>
        <p:txBody>
          <a:bodyPr lIns="25400" tIns="25400" rIns="25400" bIns="25400"/>
          <a:lstStyle>
            <a:lvl1pPr marL="0" indent="0">
              <a:buNone/>
              <a:defRPr lang="fr-FR" sz="1000" kern="0" dirty="0" smtClean="0">
                <a:solidFill>
                  <a:srgbClr val="46496A"/>
                </a:solidFill>
                <a:ea typeface="Jost Regular"/>
              </a:defRPr>
            </a:lvl1pPr>
          </a:lstStyle>
          <a:p>
            <a:pPr marL="0" lvl="0" defTabSz="457200" eaLnBrk="1" hangingPunct="0">
              <a:spcBef>
                <a:spcPts val="30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A6EC59-7EAF-424C-9316-596D5EAC24AE}"/>
              </a:ext>
            </a:extLst>
          </p:cNvPr>
          <p:cNvSpPr/>
          <p:nvPr userDrawn="1"/>
        </p:nvSpPr>
        <p:spPr>
          <a:xfrm>
            <a:off x="10491893" y="143287"/>
            <a:ext cx="1564640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F06086-8B88-402D-B73C-8AAB379434DB}"/>
              </a:ext>
            </a:extLst>
          </p:cNvPr>
          <p:cNvSpPr/>
          <p:nvPr userDrawn="1"/>
        </p:nvSpPr>
        <p:spPr>
          <a:xfrm>
            <a:off x="560624" y="6171890"/>
            <a:ext cx="2670255" cy="45075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grpSp>
        <p:nvGrpSpPr>
          <p:cNvPr id="28" name="Groupe">
            <a:extLst>
              <a:ext uri="{FF2B5EF4-FFF2-40B4-BE49-F238E27FC236}">
                <a16:creationId xmlns:a16="http://schemas.microsoft.com/office/drawing/2014/main" id="{45498778-1C8C-470B-9539-0642537C177B}"/>
              </a:ext>
            </a:extLst>
          </p:cNvPr>
          <p:cNvGrpSpPr/>
          <p:nvPr userDrawn="1"/>
        </p:nvGrpSpPr>
        <p:grpSpPr>
          <a:xfrm>
            <a:off x="635867" y="5646731"/>
            <a:ext cx="4075851" cy="581192"/>
            <a:chOff x="0" y="0"/>
            <a:chExt cx="8151699" cy="1162382"/>
          </a:xfrm>
        </p:grpSpPr>
        <p:pic>
          <p:nvPicPr>
            <p:cNvPr id="29" name="Picture 13" descr="Picture 13">
              <a:extLst>
                <a:ext uri="{FF2B5EF4-FFF2-40B4-BE49-F238E27FC236}">
                  <a16:creationId xmlns:a16="http://schemas.microsoft.com/office/drawing/2014/main" id="{19D682FF-DD13-43D0-922C-AE53B3984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2653" y="75921"/>
              <a:ext cx="1986393" cy="10061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0" name="Picture 2" descr="Picture 2">
              <a:extLst>
                <a:ext uri="{FF2B5EF4-FFF2-40B4-BE49-F238E27FC236}">
                  <a16:creationId xmlns:a16="http://schemas.microsoft.com/office/drawing/2014/main" id="{DD8D5505-D5D6-4F31-B59B-61E2AD2D5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3304" y="0"/>
              <a:ext cx="1157999" cy="11579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1" name="Picture 4" descr="Picture 4">
              <a:extLst>
                <a:ext uri="{FF2B5EF4-FFF2-40B4-BE49-F238E27FC236}">
                  <a16:creationId xmlns:a16="http://schemas.microsoft.com/office/drawing/2014/main" id="{A32BA820-4F0F-4797-AEFA-A2B7E5BDC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1509"/>
              <a:ext cx="905810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2" name="Groupe 1">
              <a:extLst>
                <a:ext uri="{FF2B5EF4-FFF2-40B4-BE49-F238E27FC236}">
                  <a16:creationId xmlns:a16="http://schemas.microsoft.com/office/drawing/2014/main" id="{3B62F090-7E0E-40D6-9039-DB8E6DE74161}"/>
                </a:ext>
              </a:extLst>
            </p:cNvPr>
            <p:cNvGrpSpPr/>
            <p:nvPr/>
          </p:nvGrpSpPr>
          <p:grpSpPr>
            <a:xfrm>
              <a:off x="7066788" y="135804"/>
              <a:ext cx="1084912" cy="1006156"/>
              <a:chOff x="0" y="0"/>
              <a:chExt cx="1084911" cy="1006154"/>
            </a:xfrm>
          </p:grpSpPr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281CBCA-B16F-4427-BA94-684D41F84BF8}"/>
                  </a:ext>
                </a:extLst>
              </p:cNvPr>
              <p:cNvSpPr/>
              <p:nvPr/>
            </p:nvSpPr>
            <p:spPr>
              <a:xfrm>
                <a:off x="371279" y="421105"/>
                <a:ext cx="713633" cy="585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371BC819-1438-4C70-B217-D8C9BDB904E9}"/>
                  </a:ext>
                </a:extLst>
              </p:cNvPr>
              <p:cNvSpPr/>
              <p:nvPr/>
            </p:nvSpPr>
            <p:spPr>
              <a:xfrm>
                <a:off x="-1" y="0"/>
                <a:ext cx="1084913" cy="9164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33" name="Picture 2" descr="Picture 2">
              <a:extLst>
                <a:ext uri="{FF2B5EF4-FFF2-40B4-BE49-F238E27FC236}">
                  <a16:creationId xmlns:a16="http://schemas.microsoft.com/office/drawing/2014/main" id="{6FF1F7D1-DDE4-4D3F-9F78-FDBE9E64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78797" y="44056"/>
              <a:ext cx="1118327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C1CDDCEE-10FE-47FA-897A-B875849248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25" y="1895475"/>
            <a:ext cx="5021263" cy="165893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0169115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00"/>
                            </p:stCondLst>
                            <p:childTnLst>
                              <p:par>
                                <p:cTn id="14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 advAuto="0"/>
      <p:bldP spid="36" grpId="0" animBg="1" advAuto="0"/>
      <p:bldP spid="28" grpId="0" animBg="1" advAuto="0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@2x.png" descr="O@2x.png">
            <a:extLst>
              <a:ext uri="{FF2B5EF4-FFF2-40B4-BE49-F238E27FC236}">
                <a16:creationId xmlns:a16="http://schemas.microsoft.com/office/drawing/2014/main" id="{7D582A9F-7C34-426F-87D7-0BFB45F775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F5146E3-D69E-467F-91E5-7B4E9217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Numéro de diapositive">
            <a:extLst>
              <a:ext uri="{FF2B5EF4-FFF2-40B4-BE49-F238E27FC236}">
                <a16:creationId xmlns:a16="http://schemas.microsoft.com/office/drawing/2014/main" id="{FD40D26E-DEA8-4579-B5BE-827B10545DF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85795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DFE706-43D9-47E2-B507-FBED41E27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915881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ous-titre de diapositiv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Sous-</a:t>
            </a:r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44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6" name="O@2x.png" descr="O@2x.png">
            <a:extLst>
              <a:ext uri="{FF2B5EF4-FFF2-40B4-BE49-F238E27FC236}">
                <a16:creationId xmlns:a16="http://schemas.microsoft.com/office/drawing/2014/main" id="{78D73670-3F4A-452D-B0A0-452554A323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1CA6F36-5C96-441C-8DB6-EB18BF8B5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3921871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200" y="0"/>
            <a:ext cx="11091600" cy="1104900"/>
          </a:xfrm>
        </p:spPr>
        <p:txBody>
          <a:bodyPr tIns="180000"/>
          <a:lstStyle>
            <a:lvl1pPr>
              <a:spcBef>
                <a:spcPts val="0"/>
              </a:spcBef>
              <a:defRPr spc="200" baseline="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550200" y="1148607"/>
            <a:ext cx="11091600" cy="5040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spc="-11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Numéro de diapositive">
            <a:extLst>
              <a:ext uri="{FF2B5EF4-FFF2-40B4-BE49-F238E27FC236}">
                <a16:creationId xmlns:a16="http://schemas.microsoft.com/office/drawing/2014/main" id="{ABEAF05F-107F-42AF-87C4-8FE2C100C70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81349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Numéro de diapositive">
            <a:extLst>
              <a:ext uri="{FF2B5EF4-FFF2-40B4-BE49-F238E27FC236}">
                <a16:creationId xmlns:a16="http://schemas.microsoft.com/office/drawing/2014/main" id="{295DF32C-711D-46C2-A3CB-5058EBC4376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41220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4418ECB-8913-4580-B8E2-98C795AAA0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5F583D7-2E9F-4315-9DD0-1AF655A8CC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411868-961E-4130-849E-C1C5F2397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CFF4D-0F09-4E51-9250-A3A6197ACBF4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4ED4C0-1994-40E2-8C71-73978647B8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6BE925C-8877-4268-861B-36F92EF63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586B3-D313-4394-BD74-BE7C7226AA4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67689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puces" type="tx">
  <p:cSld name="Titre et puces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1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body" idx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228600" lvl="0" indent="-1143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2750" b="1"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7" name="Google Shape;17;p31"/>
          <p:cNvSpPr txBox="1">
            <a:spLocks noGrp="1"/>
          </p:cNvSpPr>
          <p:nvPr>
            <p:ph type="body" idx="2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228600" lvl="0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31"/>
          <p:cNvSpPr txBox="1">
            <a:spLocks noGrp="1"/>
          </p:cNvSpPr>
          <p:nvPr>
            <p:ph type="sldNum" idx="12"/>
          </p:nvPr>
        </p:nvSpPr>
        <p:spPr>
          <a:xfrm>
            <a:off x="6012862" y="6302042"/>
            <a:ext cx="160028" cy="425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66749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7909A6-1E48-4E54-BF4C-B886423D0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12A24C-4857-47FB-8EAC-A85B3B0BBD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4E4AB14-26E2-4C80-BAC4-324BBC8C4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E67BF0-39F3-413F-8073-8F8B3928CFB0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31E7402-4583-4968-BF88-5E7AB56A7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5CB21C4-B278-4D59-91B0-25E02D008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7B5AA-8FB8-42E0-BF9E-759B4D7BBB6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92994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26" name="img01.png" descr="img01.png">
            <a:extLst>
              <a:ext uri="{FF2B5EF4-FFF2-40B4-BE49-F238E27FC236}">
                <a16:creationId xmlns:a16="http://schemas.microsoft.com/office/drawing/2014/main" id="{9873A52F-2833-493B-AB10-E80DE72838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7046" t="12191" r="17817" b="26593"/>
          <a:stretch>
            <a:fillRect/>
          </a:stretch>
        </p:blipFill>
        <p:spPr>
          <a:xfrm>
            <a:off x="6448850" y="635728"/>
            <a:ext cx="8898335" cy="5586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65" y="0"/>
                </a:moveTo>
                <a:cubicBezTo>
                  <a:pt x="7413" y="0"/>
                  <a:pt x="5642" y="0"/>
                  <a:pt x="4461" y="651"/>
                </a:cubicBezTo>
                <a:cubicBezTo>
                  <a:pt x="2578" y="1743"/>
                  <a:pt x="1094" y="4106"/>
                  <a:pt x="409" y="7106"/>
                </a:cubicBezTo>
                <a:cubicBezTo>
                  <a:pt x="138" y="8290"/>
                  <a:pt x="0" y="9540"/>
                  <a:pt x="0" y="10800"/>
                </a:cubicBezTo>
                <a:cubicBezTo>
                  <a:pt x="0" y="12060"/>
                  <a:pt x="138" y="13310"/>
                  <a:pt x="409" y="14494"/>
                </a:cubicBezTo>
                <a:cubicBezTo>
                  <a:pt x="1094" y="17494"/>
                  <a:pt x="2578" y="19857"/>
                  <a:pt x="4461" y="20949"/>
                </a:cubicBezTo>
                <a:cubicBezTo>
                  <a:pt x="5642" y="21600"/>
                  <a:pt x="7413" y="21600"/>
                  <a:pt x="10365" y="21600"/>
                </a:cubicBezTo>
                <a:lnTo>
                  <a:pt x="11235" y="21600"/>
                </a:lnTo>
                <a:cubicBezTo>
                  <a:pt x="14187" y="21600"/>
                  <a:pt x="15958" y="21600"/>
                  <a:pt x="17139" y="20949"/>
                </a:cubicBezTo>
                <a:cubicBezTo>
                  <a:pt x="19022" y="19857"/>
                  <a:pt x="20506" y="17494"/>
                  <a:pt x="21191" y="14494"/>
                </a:cubicBezTo>
                <a:cubicBezTo>
                  <a:pt x="21462" y="13310"/>
                  <a:pt x="21600" y="12060"/>
                  <a:pt x="21600" y="10800"/>
                </a:cubicBezTo>
                <a:cubicBezTo>
                  <a:pt x="21600" y="9540"/>
                  <a:pt x="21462" y="8290"/>
                  <a:pt x="21191" y="7106"/>
                </a:cubicBezTo>
                <a:cubicBezTo>
                  <a:pt x="20506" y="4106"/>
                  <a:pt x="19022" y="1743"/>
                  <a:pt x="17139" y="651"/>
                </a:cubicBezTo>
                <a:cubicBezTo>
                  <a:pt x="15958" y="0"/>
                  <a:pt x="14187" y="0"/>
                  <a:pt x="11235" y="0"/>
                </a:cubicBezTo>
                <a:lnTo>
                  <a:pt x="10365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36" name="LOGO@2x.png" descr="LOGO@2x.png">
            <a:extLst>
              <a:ext uri="{FF2B5EF4-FFF2-40B4-BE49-F238E27FC236}">
                <a16:creationId xmlns:a16="http://schemas.microsoft.com/office/drawing/2014/main" id="{9C505BB7-859E-497F-B96E-6355008938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4327" y="341934"/>
            <a:ext cx="863592" cy="4507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2BD21E-10FF-4089-80E7-F50BD3F2F5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1825" y="3765550"/>
            <a:ext cx="3810000" cy="365125"/>
          </a:xfrm>
          <a:ln w="12700">
            <a:miter lim="400000"/>
          </a:ln>
        </p:spPr>
        <p:txBody>
          <a:bodyPr lIns="50800" tIns="50800" rIns="50800" bIns="50800">
            <a:noAutofit/>
          </a:bodyPr>
          <a:lstStyle>
            <a:lvl1pPr>
              <a:defRPr lang="fr-FR" dirty="0" smtClean="0">
                <a:solidFill>
                  <a:srgbClr val="01BF7D"/>
                </a:solidFill>
              </a:defRPr>
            </a:lvl1pPr>
          </a:lstStyle>
          <a:p>
            <a:pPr marL="0" lvl="0" indent="0" defTabSz="2438338">
              <a:buNone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8" name="Espace réservé du texte 37">
            <a:extLst>
              <a:ext uri="{FF2B5EF4-FFF2-40B4-BE49-F238E27FC236}">
                <a16:creationId xmlns:a16="http://schemas.microsoft.com/office/drawing/2014/main" id="{E454B2AB-14FE-45CB-B5E3-1E65D209C0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525" y="4508500"/>
            <a:ext cx="3365500" cy="300038"/>
          </a:xfrm>
          <a:ln w="12700">
            <a:miter lim="400000"/>
          </a:ln>
        </p:spPr>
        <p:txBody>
          <a:bodyPr lIns="25400" tIns="25400" rIns="25400" bIns="25400"/>
          <a:lstStyle>
            <a:lvl1pPr marL="0" indent="0">
              <a:buNone/>
              <a:defRPr lang="fr-FR" sz="1000" kern="0" dirty="0" smtClean="0">
                <a:solidFill>
                  <a:srgbClr val="46496A"/>
                </a:solidFill>
                <a:ea typeface="Jost Regular"/>
              </a:defRPr>
            </a:lvl1pPr>
          </a:lstStyle>
          <a:p>
            <a:pPr marL="0" lvl="0" defTabSz="457200" eaLnBrk="1" hangingPunct="0">
              <a:spcBef>
                <a:spcPts val="30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A6EC59-7EAF-424C-9316-596D5EAC24AE}"/>
              </a:ext>
            </a:extLst>
          </p:cNvPr>
          <p:cNvSpPr/>
          <p:nvPr userDrawn="1"/>
        </p:nvSpPr>
        <p:spPr>
          <a:xfrm>
            <a:off x="10491893" y="194257"/>
            <a:ext cx="1564640" cy="34881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0F06086-8B88-402D-B73C-8AAB379434DB}"/>
              </a:ext>
            </a:extLst>
          </p:cNvPr>
          <p:cNvSpPr/>
          <p:nvPr userDrawn="1"/>
        </p:nvSpPr>
        <p:spPr>
          <a:xfrm>
            <a:off x="560625" y="6222860"/>
            <a:ext cx="2670255" cy="34881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Jost Medium"/>
              <a:ea typeface="Jost Medium"/>
              <a:cs typeface="Jost Medium"/>
              <a:sym typeface="Jost Medium"/>
            </a:endParaRPr>
          </a:p>
        </p:txBody>
      </p:sp>
      <p:grpSp>
        <p:nvGrpSpPr>
          <p:cNvPr id="28" name="Groupe">
            <a:extLst>
              <a:ext uri="{FF2B5EF4-FFF2-40B4-BE49-F238E27FC236}">
                <a16:creationId xmlns:a16="http://schemas.microsoft.com/office/drawing/2014/main" id="{45498778-1C8C-470B-9539-0642537C177B}"/>
              </a:ext>
            </a:extLst>
          </p:cNvPr>
          <p:cNvGrpSpPr/>
          <p:nvPr userDrawn="1"/>
        </p:nvGrpSpPr>
        <p:grpSpPr>
          <a:xfrm>
            <a:off x="635868" y="5646731"/>
            <a:ext cx="4075851" cy="581192"/>
            <a:chOff x="0" y="0"/>
            <a:chExt cx="8151699" cy="1162382"/>
          </a:xfrm>
        </p:grpSpPr>
        <p:pic>
          <p:nvPicPr>
            <p:cNvPr id="29" name="Picture 13" descr="Picture 13">
              <a:extLst>
                <a:ext uri="{FF2B5EF4-FFF2-40B4-BE49-F238E27FC236}">
                  <a16:creationId xmlns:a16="http://schemas.microsoft.com/office/drawing/2014/main" id="{19D682FF-DD13-43D0-922C-AE53B3984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52653" y="75921"/>
              <a:ext cx="1986393" cy="10061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0" name="Picture 2" descr="Picture 2">
              <a:extLst>
                <a:ext uri="{FF2B5EF4-FFF2-40B4-BE49-F238E27FC236}">
                  <a16:creationId xmlns:a16="http://schemas.microsoft.com/office/drawing/2014/main" id="{DD8D5505-D5D6-4F31-B59B-61E2AD2D5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3304" y="0"/>
              <a:ext cx="1157999" cy="11579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31" name="Picture 4" descr="Picture 4">
              <a:extLst>
                <a:ext uri="{FF2B5EF4-FFF2-40B4-BE49-F238E27FC236}">
                  <a16:creationId xmlns:a16="http://schemas.microsoft.com/office/drawing/2014/main" id="{A32BA820-4F0F-4797-AEFA-A2B7E5BDC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21509"/>
              <a:ext cx="905810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2" name="Groupe 1">
              <a:extLst>
                <a:ext uri="{FF2B5EF4-FFF2-40B4-BE49-F238E27FC236}">
                  <a16:creationId xmlns:a16="http://schemas.microsoft.com/office/drawing/2014/main" id="{3B62F090-7E0E-40D6-9039-DB8E6DE74161}"/>
                </a:ext>
              </a:extLst>
            </p:cNvPr>
            <p:cNvGrpSpPr/>
            <p:nvPr/>
          </p:nvGrpSpPr>
          <p:grpSpPr>
            <a:xfrm>
              <a:off x="7066788" y="135804"/>
              <a:ext cx="1084912" cy="1006156"/>
              <a:chOff x="0" y="0"/>
              <a:chExt cx="1084911" cy="1006154"/>
            </a:xfrm>
          </p:grpSpPr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281CBCA-B16F-4427-BA94-684D41F84BF8}"/>
                  </a:ext>
                </a:extLst>
              </p:cNvPr>
              <p:cNvSpPr/>
              <p:nvPr/>
            </p:nvSpPr>
            <p:spPr>
              <a:xfrm>
                <a:off x="371279" y="421105"/>
                <a:ext cx="713633" cy="585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371BC819-1438-4C70-B217-D8C9BDB904E9}"/>
                  </a:ext>
                </a:extLst>
              </p:cNvPr>
              <p:cNvSpPr/>
              <p:nvPr/>
            </p:nvSpPr>
            <p:spPr>
              <a:xfrm>
                <a:off x="-1" y="0"/>
                <a:ext cx="1084913" cy="9164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33" name="Picture 2" descr="Picture 2">
              <a:extLst>
                <a:ext uri="{FF2B5EF4-FFF2-40B4-BE49-F238E27FC236}">
                  <a16:creationId xmlns:a16="http://schemas.microsoft.com/office/drawing/2014/main" id="{6FF1F7D1-DDE4-4D3F-9F78-FDBE9E64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78797" y="44056"/>
              <a:ext cx="1118327" cy="11183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" name="Espace réservé du texte 43">
            <a:extLst>
              <a:ext uri="{FF2B5EF4-FFF2-40B4-BE49-F238E27FC236}">
                <a16:creationId xmlns:a16="http://schemas.microsoft.com/office/drawing/2014/main" id="{C1CDDCEE-10FE-47FA-897A-B875849248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26" y="1895475"/>
            <a:ext cx="5021263" cy="165893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597951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00"/>
                            </p:stCondLst>
                            <p:childTnLst>
                              <p:par>
                                <p:cTn id="14" presetID="10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 advAuto="0"/>
      <p:bldP spid="36" grpId="0" animBg="1" advAuto="0"/>
      <p:bldP spid="28" grpId="0" animBg="1" advAuto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ous-titre de diapositiv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Sous-</a:t>
            </a:r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44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6" name="O@2x.png" descr="O@2x.png">
            <a:extLst>
              <a:ext uri="{FF2B5EF4-FFF2-40B4-BE49-F238E27FC236}">
                <a16:creationId xmlns:a16="http://schemas.microsoft.com/office/drawing/2014/main" id="{78D73670-3F4A-452D-B0A0-452554A323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59012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1CA6F36-5C96-441C-8DB6-EB18BF8B5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9408671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ous-titre de diapositiv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Sous-</a:t>
            </a:r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44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pic>
        <p:nvPicPr>
          <p:cNvPr id="6" name="O@2x.png" descr="O@2x.png">
            <a:extLst>
              <a:ext uri="{FF2B5EF4-FFF2-40B4-BE49-F238E27FC236}">
                <a16:creationId xmlns:a16="http://schemas.microsoft.com/office/drawing/2014/main" id="{78D73670-3F4A-452D-B0A0-452554A323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59013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1CA6F36-5C96-441C-8DB6-EB18BF8B5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124866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@2x.png" descr="O@2x.png">
            <a:extLst>
              <a:ext uri="{FF2B5EF4-FFF2-40B4-BE49-F238E27FC236}">
                <a16:creationId xmlns:a16="http://schemas.microsoft.com/office/drawing/2014/main" id="{7D582A9F-7C34-426F-87D7-0BFB45F775B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59013" y="973703"/>
            <a:ext cx="3729727" cy="188108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F5146E3-D69E-467F-91E5-7B4E9217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8935706" cy="906208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0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97659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, puces e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ous-titre de diapositiv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4889500" cy="46739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Sous-</a:t>
            </a:r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61" name="Texte niveau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3250" y="2124252"/>
            <a:ext cx="4889500" cy="412831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2" name="660384004_1290x1720.jpg"/>
          <p:cNvSpPr>
            <a:spLocks noGrp="1"/>
          </p:cNvSpPr>
          <p:nvPr>
            <p:ph type="pic" idx="22"/>
          </p:nvPr>
        </p:nvSpPr>
        <p:spPr>
          <a:xfrm>
            <a:off x="6096001" y="-203633"/>
            <a:ext cx="5458437" cy="727791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>
            <a:lvl1pPr>
              <a:defRPr sz="1600"/>
            </a:lvl1pPr>
          </a:lstStyle>
          <a:p>
            <a:endParaRPr/>
          </a:p>
        </p:txBody>
      </p:sp>
      <p:sp>
        <p:nvSpPr>
          <p:cNvPr id="63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4889500" cy="717550"/>
          </a:xfrm>
          <a:prstGeom prst="rect">
            <a:avLst/>
          </a:prstGeom>
        </p:spPr>
        <p:txBody>
          <a:bodyPr/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64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8240193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utre titre e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21"/>
          </p:nvPr>
        </p:nvSpPr>
        <p:spPr>
          <a:xfrm>
            <a:off x="5486401" y="-101600"/>
            <a:ext cx="6072419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635001"/>
            <a:ext cx="4889500" cy="2941137"/>
          </a:xfrm>
          <a:prstGeom prst="rect">
            <a:avLst/>
          </a:prstGeom>
        </p:spPr>
        <p:txBody>
          <a:bodyPr anchor="b"/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34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3250" y="3530288"/>
            <a:ext cx="4889500" cy="2692712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Sous-titr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9603"/>
            <a:ext cx="248466" cy="21031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6136741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re de section"/>
          <p:cNvSpPr txBox="1">
            <a:spLocks noGrp="1"/>
          </p:cNvSpPr>
          <p:nvPr>
            <p:ph type="title" hasCustomPrompt="1"/>
          </p:nvPr>
        </p:nvSpPr>
        <p:spPr>
          <a:xfrm>
            <a:off x="603248" y="2266950"/>
            <a:ext cx="10985502" cy="2324100"/>
          </a:xfrm>
          <a:prstGeom prst="rect">
            <a:avLst/>
          </a:prstGeom>
        </p:spPr>
        <p:txBody>
          <a:bodyPr anchor="ctr"/>
          <a:lstStyle>
            <a:lvl1pPr>
              <a:defRPr sz="5800" spc="-116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1pPr>
          </a:lstStyle>
          <a:p>
            <a:r>
              <a:rPr err="1"/>
              <a:t>Titre</a:t>
            </a:r>
            <a:r>
              <a:t> de section</a:t>
            </a:r>
          </a:p>
        </p:txBody>
      </p:sp>
      <p:sp>
        <p:nvSpPr>
          <p:cNvPr id="72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9603"/>
            <a:ext cx="248466" cy="21031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7655083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écla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exte niveau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3250" y="2460423"/>
            <a:ext cx="10985500" cy="193715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1pPr>
            <a:lvl2pPr marL="0" indent="2286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2pPr>
            <a:lvl3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3pPr>
            <a:lvl4pPr marL="0" indent="6858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4pPr>
            <a:lvl5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5pPr>
          </a:lstStyle>
          <a:p>
            <a:r>
              <a:rPr err="1"/>
              <a:t>Déclaration</a:t>
            </a:r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9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5825745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ait impor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537964"/>
            <a:ext cx="10985500" cy="3620792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1pPr>
            <a:lvl2pPr marL="0" indent="2286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2pPr>
            <a:lvl3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3pPr>
            <a:lvl4pPr marL="0" indent="6858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4pPr>
            <a:lvl5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12500" b="1" spc="-125"/>
            </a:lvl5pPr>
          </a:lstStyle>
          <a:p>
            <a:r>
              <a:t>100 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7" name="Données clés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4131090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rPr err="1"/>
              <a:t>Données</a:t>
            </a:r>
            <a:r>
              <a:t> </a:t>
            </a:r>
            <a:r>
              <a:rPr err="1"/>
              <a:t>clés</a:t>
            </a:r>
            <a:endParaRPr/>
          </a:p>
        </p:txBody>
      </p:sp>
      <p:sp>
        <p:nvSpPr>
          <p:cNvPr id="108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0741663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Attribu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15012" y="5337727"/>
            <a:ext cx="10100026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t>Attribution</a:t>
            </a:r>
          </a:p>
        </p:txBody>
      </p:sp>
      <p:sp>
        <p:nvSpPr>
          <p:cNvPr id="116" name="Texte niveau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876962" y="2469930"/>
            <a:ext cx="10438077" cy="1918140"/>
          </a:xfrm>
          <a:prstGeom prst="rect">
            <a:avLst/>
          </a:prstGeom>
        </p:spPr>
        <p:txBody>
          <a:bodyPr/>
          <a:lstStyle>
            <a:lvl1pPr marL="319462" indent="-2349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1pPr>
            <a:lvl2pPr marL="319462" indent="-63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2pPr>
            <a:lvl3pPr marL="319462" indent="2222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3pPr>
            <a:lvl4pPr marL="319462" indent="4508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4pPr>
            <a:lvl5pPr marL="319462" indent="679450">
              <a:spcBef>
                <a:spcPts val="0"/>
              </a:spcBef>
              <a:buSzTx/>
              <a:buNone/>
              <a:defRPr sz="4250" spc="-85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 Medium"/>
              </a:defRPr>
            </a:lvl5pPr>
          </a:lstStyle>
          <a:p>
            <a:r>
              <a:t>« Citation notable »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7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8527224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Image"/>
          <p:cNvSpPr>
            <a:spLocks noGrp="1"/>
          </p:cNvSpPr>
          <p:nvPr>
            <p:ph type="pic" idx="21"/>
          </p:nvPr>
        </p:nvSpPr>
        <p:spPr>
          <a:xfrm>
            <a:off x="-666750" y="-2762250"/>
            <a:ext cx="13525500" cy="108204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5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00750" y="6486709"/>
            <a:ext cx="309380" cy="24109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1916057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puces" type="tx">
  <p:cSld name="Titre et puces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1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6496A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31"/>
          <p:cNvSpPr txBox="1">
            <a:spLocks noGrp="1"/>
          </p:cNvSpPr>
          <p:nvPr>
            <p:ph type="body" idx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228600" lvl="0" indent="-1143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500"/>
              <a:buFont typeface="Helvetica Neue"/>
              <a:buNone/>
              <a:defRPr sz="2750" b="1"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7" name="Google Shape;17;p31"/>
          <p:cNvSpPr txBox="1">
            <a:spLocks noGrp="1"/>
          </p:cNvSpPr>
          <p:nvPr>
            <p:ph type="body" idx="2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228600" lvl="0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1pPr>
            <a:lvl2pPr marL="457200" lvl="1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2pPr>
            <a:lvl3pPr marL="685800" lvl="2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3pPr>
            <a:lvl4pPr marL="914400" lvl="3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4pPr>
            <a:lvl5pPr marL="1143000" lvl="4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5pPr>
            <a:lvl6pPr marL="1371600" lvl="5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6pPr>
            <a:lvl7pPr marL="1600200" lvl="6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7pPr>
            <a:lvl8pPr marL="1828800" lvl="7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8pPr>
            <a:lvl9pPr marL="2057400" lvl="8" indent="-184595" algn="l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>
                <a:srgbClr val="000000"/>
              </a:buClr>
              <a:buSzPts val="2214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31"/>
          <p:cNvSpPr txBox="1">
            <a:spLocks noGrp="1"/>
          </p:cNvSpPr>
          <p:nvPr>
            <p:ph type="sldNum" idx="12"/>
          </p:nvPr>
        </p:nvSpPr>
        <p:spPr>
          <a:xfrm>
            <a:off x="6012862" y="6302042"/>
            <a:ext cx="160028" cy="425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Poppins"/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69670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200" y="0"/>
            <a:ext cx="11091600" cy="1104900"/>
          </a:xfrm>
        </p:spPr>
        <p:txBody>
          <a:bodyPr tIns="180000"/>
          <a:lstStyle>
            <a:lvl1pPr>
              <a:spcBef>
                <a:spcPts val="0"/>
              </a:spcBef>
              <a:defRPr spc="200" baseline="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550200" y="1148607"/>
            <a:ext cx="11091600" cy="5040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spc="-11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Numéro de diapositive">
            <a:extLst>
              <a:ext uri="{FF2B5EF4-FFF2-40B4-BE49-F238E27FC236}">
                <a16:creationId xmlns:a16="http://schemas.microsoft.com/office/drawing/2014/main" id="{ABEAF05F-107F-42AF-87C4-8FE2C100C70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17076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9156948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Numéro de diapositive">
            <a:extLst>
              <a:ext uri="{FF2B5EF4-FFF2-40B4-BE49-F238E27FC236}">
                <a16:creationId xmlns:a16="http://schemas.microsoft.com/office/drawing/2014/main" id="{295DF32C-711D-46C2-A3CB-5058EBC4376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0455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5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4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14.jpe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8.png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0.xml"/><Relationship Id="rId19" Type="http://schemas.openxmlformats.org/officeDocument/2006/relationships/image" Target="../media/image11.jpeg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6.xml"/><Relationship Id="rId16" Type="http://schemas.openxmlformats.org/officeDocument/2006/relationships/image" Target="../media/image1.png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4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7.xml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image" Target="../media/image11.jpeg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14.jpe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3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602827" y="1571414"/>
            <a:ext cx="10985923" cy="4355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grpSp>
        <p:nvGrpSpPr>
          <p:cNvPr id="23" name="Groupe">
            <a:extLst>
              <a:ext uri="{FF2B5EF4-FFF2-40B4-BE49-F238E27FC236}">
                <a16:creationId xmlns:a16="http://schemas.microsoft.com/office/drawing/2014/main" id="{2F5D0881-49C4-463D-934C-58BB8136FE55}"/>
              </a:ext>
            </a:extLst>
          </p:cNvPr>
          <p:cNvGrpSpPr/>
          <p:nvPr userDrawn="1"/>
        </p:nvGrpSpPr>
        <p:grpSpPr>
          <a:xfrm>
            <a:off x="635867" y="6229381"/>
            <a:ext cx="2388380" cy="340569"/>
            <a:chOff x="0" y="0"/>
            <a:chExt cx="4776759" cy="681136"/>
          </a:xfrm>
        </p:grpSpPr>
        <p:pic>
          <p:nvPicPr>
            <p:cNvPr id="24" name="Picture 13" descr="Picture 13">
              <a:extLst>
                <a:ext uri="{FF2B5EF4-FFF2-40B4-BE49-F238E27FC236}">
                  <a16:creationId xmlns:a16="http://schemas.microsoft.com/office/drawing/2014/main" id="{0EFA5148-95C6-496B-ABD1-69A10154D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7778" y="44488"/>
              <a:ext cx="1163994" cy="58959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Picture 2" descr="Picture 2">
              <a:extLst>
                <a:ext uri="{FF2B5EF4-FFF2-40B4-BE49-F238E27FC236}">
                  <a16:creationId xmlns:a16="http://schemas.microsoft.com/office/drawing/2014/main" id="{00F30F2A-0706-4E04-9CDB-8122010C4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8873" y="0"/>
              <a:ext cx="678569" cy="67856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Picture 4" descr="Picture 4">
              <a:extLst>
                <a:ext uri="{FF2B5EF4-FFF2-40B4-BE49-F238E27FC236}">
                  <a16:creationId xmlns:a16="http://schemas.microsoft.com/office/drawing/2014/main" id="{3658B991-9F72-489C-8289-084EAB796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12604"/>
              <a:ext cx="530790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27" name="Groupe 1">
              <a:extLst>
                <a:ext uri="{FF2B5EF4-FFF2-40B4-BE49-F238E27FC236}">
                  <a16:creationId xmlns:a16="http://schemas.microsoft.com/office/drawing/2014/main" id="{D45CDE27-AD17-4B52-9CCB-EFA1C02561C9}"/>
                </a:ext>
              </a:extLst>
            </p:cNvPr>
            <p:cNvGrpSpPr/>
            <p:nvPr/>
          </p:nvGrpSpPr>
          <p:grpSpPr>
            <a:xfrm>
              <a:off x="4141019" y="79579"/>
              <a:ext cx="635741" cy="589590"/>
              <a:chOff x="0" y="0"/>
              <a:chExt cx="635739" cy="589589"/>
            </a:xfrm>
          </p:grpSpPr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5BB38649-3415-403C-87C7-93859DCBD717}"/>
                  </a:ext>
                </a:extLst>
              </p:cNvPr>
              <p:cNvSpPr/>
              <p:nvPr/>
            </p:nvSpPr>
            <p:spPr>
              <a:xfrm>
                <a:off x="217563" y="246760"/>
                <a:ext cx="418177" cy="3428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0" name="Freeform 14">
                <a:extLst>
                  <a:ext uri="{FF2B5EF4-FFF2-40B4-BE49-F238E27FC236}">
                    <a16:creationId xmlns:a16="http://schemas.microsoft.com/office/drawing/2014/main" id="{C7A98F42-829D-4477-A633-F0916CBD3388}"/>
                  </a:ext>
                </a:extLst>
              </p:cNvPr>
              <p:cNvSpPr/>
              <p:nvPr/>
            </p:nvSpPr>
            <p:spPr>
              <a:xfrm>
                <a:off x="-1" y="0"/>
                <a:ext cx="635741" cy="5370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28" name="Picture 2" descr="Picture 2">
              <a:extLst>
                <a:ext uri="{FF2B5EF4-FFF2-40B4-BE49-F238E27FC236}">
                  <a16:creationId xmlns:a16="http://schemas.microsoft.com/office/drawing/2014/main" id="{94993714-E8E0-4838-BD1D-67104A82C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5525" y="25816"/>
              <a:ext cx="655322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1" name="Capgemini Invent 2020. All rights reserved">
            <a:extLst>
              <a:ext uri="{FF2B5EF4-FFF2-40B4-BE49-F238E27FC236}">
                <a16:creationId xmlns:a16="http://schemas.microsoft.com/office/drawing/2014/main" id="{B0A2A81F-5754-4D37-BA1A-FE5463A158A4}"/>
              </a:ext>
            </a:extLst>
          </p:cNvPr>
          <p:cNvSpPr txBox="1"/>
          <p:nvPr userDrawn="1"/>
        </p:nvSpPr>
        <p:spPr>
          <a:xfrm>
            <a:off x="9743999" y="6387120"/>
            <a:ext cx="1839302" cy="1901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spcBef>
                <a:spcPts val="1000"/>
              </a:spcBef>
              <a:defRPr sz="1400">
                <a:solidFill>
                  <a:srgbClr val="4649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457200" hangingPunct="0">
              <a:spcBef>
                <a:spcPts val="500"/>
              </a:spcBef>
              <a:defRPr/>
            </a:pPr>
            <a:r>
              <a:rPr sz="700" kern="0"/>
              <a:t>Capgemini Invent 202</a:t>
            </a:r>
            <a:r>
              <a:rPr lang="fr-FR" sz="700" kern="0"/>
              <a:t>1</a:t>
            </a:r>
            <a:r>
              <a:rPr sz="700" kern="0"/>
              <a:t>. All rights reserved</a:t>
            </a:r>
          </a:p>
        </p:txBody>
      </p:sp>
      <p:pic>
        <p:nvPicPr>
          <p:cNvPr id="32" name="mob@2x.png" descr="mob@2x.png">
            <a:extLst>
              <a:ext uri="{FF2B5EF4-FFF2-40B4-BE49-F238E27FC236}">
                <a16:creationId xmlns:a16="http://schemas.microsoft.com/office/drawing/2014/main" id="{3C45EEF5-988E-4A3A-B86D-5A452730E71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9843" y="293142"/>
            <a:ext cx="504826" cy="1755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9515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9" r:id="rId3"/>
    <p:sldLayoutId id="2147483681" r:id="rId4"/>
    <p:sldLayoutId id="2147483682" r:id="rId5"/>
    <p:sldLayoutId id="2147483683" r:id="rId6"/>
    <p:sldLayoutId id="2147483692" r:id="rId7"/>
    <p:sldLayoutId id="2147483693" r:id="rId8"/>
    <p:sldLayoutId id="2147483694" r:id="rId9"/>
  </p:sldLayoutIdLst>
  <p:transition spd="med"/>
  <p:hf hdr="0" ftr="0" dt="0"/>
  <p:txStyles>
    <p:titleStyle>
      <a:lvl1pPr marL="0" marR="0" indent="0" algn="l" defTabSz="121916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-40" baseline="0">
          <a:solidFill>
            <a:srgbClr val="46496A"/>
          </a:solidFill>
          <a:uFillTx/>
          <a:latin typeface="Corbel" panose="020B0503020204020204" pitchFamily="34" charset="0"/>
          <a:ea typeface="+mn-ea"/>
          <a:cs typeface="Arial" panose="020B0604020202020204" pitchFamily="34" charset="0"/>
          <a:sym typeface="Futura"/>
        </a:defRPr>
      </a:lvl1pPr>
      <a:lvl2pPr marL="0" marR="0" indent="228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9pPr>
    </p:titleStyle>
    <p:bodyStyle>
      <a:lvl1pPr marL="304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Corbel" panose="020B0503020204020204" pitchFamily="34" charset="0"/>
          <a:ea typeface="Corbel" panose="020B0503020204020204" pitchFamily="34" charset="0"/>
          <a:cs typeface="Arial" panose="020B0604020202020204" pitchFamily="34" charset="0"/>
          <a:sym typeface="Helvetica Neue"/>
        </a:defRPr>
      </a:lvl1pPr>
      <a:lvl2pPr marL="609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2pPr>
      <a:lvl3pPr marL="914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3pPr>
      <a:lvl4pPr marL="1219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4pPr>
      <a:lvl5pPr marL="15240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5pPr>
      <a:lvl6pPr marL="1828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133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438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743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154E09F-B4EB-4E66-B8F7-6041F3981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E8BBA08-FCFC-4047-9885-2FFB620EA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B5EC5D4-1779-4A01-BBC3-FEE18177B4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760924-1653-4F1A-BC88-EFBB715B3978}" type="datetimeFigureOut">
              <a:rPr lang="fr-FR" smtClean="0"/>
              <a:t>0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7699057-9A0A-47EF-9B53-07A69457C4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3F0CF46-4B7F-463D-B81C-809EAEFAC2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F4A8B9-3780-4307-A9F3-ED448EAAC9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93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3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602827" y="1571414"/>
            <a:ext cx="10985923" cy="4355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grpSp>
        <p:nvGrpSpPr>
          <p:cNvPr id="23" name="Groupe">
            <a:extLst>
              <a:ext uri="{FF2B5EF4-FFF2-40B4-BE49-F238E27FC236}">
                <a16:creationId xmlns:a16="http://schemas.microsoft.com/office/drawing/2014/main" id="{2F5D0881-49C4-463D-934C-58BB8136FE55}"/>
              </a:ext>
            </a:extLst>
          </p:cNvPr>
          <p:cNvGrpSpPr/>
          <p:nvPr userDrawn="1"/>
        </p:nvGrpSpPr>
        <p:grpSpPr>
          <a:xfrm>
            <a:off x="635867" y="6229381"/>
            <a:ext cx="2388380" cy="340569"/>
            <a:chOff x="0" y="0"/>
            <a:chExt cx="4776759" cy="681136"/>
          </a:xfrm>
        </p:grpSpPr>
        <p:pic>
          <p:nvPicPr>
            <p:cNvPr id="24" name="Picture 13" descr="Picture 13">
              <a:extLst>
                <a:ext uri="{FF2B5EF4-FFF2-40B4-BE49-F238E27FC236}">
                  <a16:creationId xmlns:a16="http://schemas.microsoft.com/office/drawing/2014/main" id="{0EFA5148-95C6-496B-ABD1-69A10154D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7778" y="44488"/>
              <a:ext cx="1163994" cy="58959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Picture 2" descr="Picture 2">
              <a:extLst>
                <a:ext uri="{FF2B5EF4-FFF2-40B4-BE49-F238E27FC236}">
                  <a16:creationId xmlns:a16="http://schemas.microsoft.com/office/drawing/2014/main" id="{00F30F2A-0706-4E04-9CDB-8122010C4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8873" y="0"/>
              <a:ext cx="678569" cy="67856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Picture 4" descr="Picture 4">
              <a:extLst>
                <a:ext uri="{FF2B5EF4-FFF2-40B4-BE49-F238E27FC236}">
                  <a16:creationId xmlns:a16="http://schemas.microsoft.com/office/drawing/2014/main" id="{3658B991-9F72-489C-8289-084EAB796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12604"/>
              <a:ext cx="530790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27" name="Groupe 1">
              <a:extLst>
                <a:ext uri="{FF2B5EF4-FFF2-40B4-BE49-F238E27FC236}">
                  <a16:creationId xmlns:a16="http://schemas.microsoft.com/office/drawing/2014/main" id="{D45CDE27-AD17-4B52-9CCB-EFA1C02561C9}"/>
                </a:ext>
              </a:extLst>
            </p:cNvPr>
            <p:cNvGrpSpPr/>
            <p:nvPr/>
          </p:nvGrpSpPr>
          <p:grpSpPr>
            <a:xfrm>
              <a:off x="4141019" y="79579"/>
              <a:ext cx="635741" cy="589590"/>
              <a:chOff x="0" y="0"/>
              <a:chExt cx="635739" cy="589589"/>
            </a:xfrm>
          </p:grpSpPr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5BB38649-3415-403C-87C7-93859DCBD717}"/>
                  </a:ext>
                </a:extLst>
              </p:cNvPr>
              <p:cNvSpPr/>
              <p:nvPr/>
            </p:nvSpPr>
            <p:spPr>
              <a:xfrm>
                <a:off x="217563" y="246760"/>
                <a:ext cx="418177" cy="3428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0" name="Freeform 14">
                <a:extLst>
                  <a:ext uri="{FF2B5EF4-FFF2-40B4-BE49-F238E27FC236}">
                    <a16:creationId xmlns:a16="http://schemas.microsoft.com/office/drawing/2014/main" id="{C7A98F42-829D-4477-A633-F0916CBD3388}"/>
                  </a:ext>
                </a:extLst>
              </p:cNvPr>
              <p:cNvSpPr/>
              <p:nvPr/>
            </p:nvSpPr>
            <p:spPr>
              <a:xfrm>
                <a:off x="-1" y="0"/>
                <a:ext cx="635741" cy="5370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28" name="Picture 2" descr="Picture 2">
              <a:extLst>
                <a:ext uri="{FF2B5EF4-FFF2-40B4-BE49-F238E27FC236}">
                  <a16:creationId xmlns:a16="http://schemas.microsoft.com/office/drawing/2014/main" id="{94993714-E8E0-4838-BD1D-67104A82C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5525" y="25816"/>
              <a:ext cx="655322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1" name="Capgemini Invent 2020. All rights reserved">
            <a:extLst>
              <a:ext uri="{FF2B5EF4-FFF2-40B4-BE49-F238E27FC236}">
                <a16:creationId xmlns:a16="http://schemas.microsoft.com/office/drawing/2014/main" id="{B0A2A81F-5754-4D37-BA1A-FE5463A158A4}"/>
              </a:ext>
            </a:extLst>
          </p:cNvPr>
          <p:cNvSpPr txBox="1"/>
          <p:nvPr userDrawn="1"/>
        </p:nvSpPr>
        <p:spPr>
          <a:xfrm>
            <a:off x="9743999" y="6387120"/>
            <a:ext cx="1839302" cy="1901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spcBef>
                <a:spcPts val="1000"/>
              </a:spcBef>
              <a:defRPr sz="1400">
                <a:solidFill>
                  <a:srgbClr val="4649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457200" hangingPunct="0">
              <a:spcBef>
                <a:spcPts val="500"/>
              </a:spcBef>
              <a:defRPr/>
            </a:pPr>
            <a:r>
              <a:rPr sz="700" kern="0"/>
              <a:t>Capgemini Invent 202</a:t>
            </a:r>
            <a:r>
              <a:rPr lang="fr-FR" sz="700" kern="0"/>
              <a:t>1</a:t>
            </a:r>
            <a:r>
              <a:rPr sz="700" kern="0"/>
              <a:t>. All rights reserved</a:t>
            </a:r>
          </a:p>
        </p:txBody>
      </p:sp>
      <p:pic>
        <p:nvPicPr>
          <p:cNvPr id="32" name="mob@2x.png" descr="mob@2x.png">
            <a:extLst>
              <a:ext uri="{FF2B5EF4-FFF2-40B4-BE49-F238E27FC236}">
                <a16:creationId xmlns:a16="http://schemas.microsoft.com/office/drawing/2014/main" id="{3C45EEF5-988E-4A3A-B86D-5A452730E71A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9843" y="293142"/>
            <a:ext cx="504826" cy="1755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97468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ransition spd="med"/>
  <p:hf hdr="0" ftr="0" dt="0"/>
  <p:txStyles>
    <p:titleStyle>
      <a:lvl1pPr marL="0" marR="0" indent="0" algn="l" defTabSz="121916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-40" baseline="0">
          <a:solidFill>
            <a:srgbClr val="46496A"/>
          </a:solidFill>
          <a:uFillTx/>
          <a:latin typeface="Corbel" panose="020B0503020204020204" pitchFamily="34" charset="0"/>
          <a:ea typeface="+mn-ea"/>
          <a:cs typeface="Arial" panose="020B0604020202020204" pitchFamily="34" charset="0"/>
          <a:sym typeface="Futura"/>
        </a:defRPr>
      </a:lvl1pPr>
      <a:lvl2pPr marL="0" marR="0" indent="228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9pPr>
    </p:titleStyle>
    <p:bodyStyle>
      <a:lvl1pPr marL="304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Corbel" panose="020B0503020204020204" pitchFamily="34" charset="0"/>
          <a:ea typeface="Corbel" panose="020B0503020204020204" pitchFamily="34" charset="0"/>
          <a:cs typeface="Arial" panose="020B0604020202020204" pitchFamily="34" charset="0"/>
          <a:sym typeface="Helvetica Neue"/>
        </a:defRPr>
      </a:lvl1pPr>
      <a:lvl2pPr marL="609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2pPr>
      <a:lvl3pPr marL="914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3pPr>
      <a:lvl4pPr marL="1219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4pPr>
      <a:lvl5pPr marL="15240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5pPr>
      <a:lvl6pPr marL="1828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133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438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743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3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602827" y="1571414"/>
            <a:ext cx="10985923" cy="4355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grpSp>
        <p:nvGrpSpPr>
          <p:cNvPr id="23" name="Groupe">
            <a:extLst>
              <a:ext uri="{FF2B5EF4-FFF2-40B4-BE49-F238E27FC236}">
                <a16:creationId xmlns:a16="http://schemas.microsoft.com/office/drawing/2014/main" id="{2F5D0881-49C4-463D-934C-58BB8136FE55}"/>
              </a:ext>
            </a:extLst>
          </p:cNvPr>
          <p:cNvGrpSpPr/>
          <p:nvPr userDrawn="1"/>
        </p:nvGrpSpPr>
        <p:grpSpPr>
          <a:xfrm>
            <a:off x="635867" y="6229381"/>
            <a:ext cx="2388380" cy="340569"/>
            <a:chOff x="0" y="0"/>
            <a:chExt cx="4776759" cy="681136"/>
          </a:xfrm>
        </p:grpSpPr>
        <p:pic>
          <p:nvPicPr>
            <p:cNvPr id="24" name="Picture 13" descr="Picture 13">
              <a:extLst>
                <a:ext uri="{FF2B5EF4-FFF2-40B4-BE49-F238E27FC236}">
                  <a16:creationId xmlns:a16="http://schemas.microsoft.com/office/drawing/2014/main" id="{0EFA5148-95C6-496B-ABD1-69A10154D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7778" y="44488"/>
              <a:ext cx="1163994" cy="58959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Picture 2" descr="Picture 2">
              <a:extLst>
                <a:ext uri="{FF2B5EF4-FFF2-40B4-BE49-F238E27FC236}">
                  <a16:creationId xmlns:a16="http://schemas.microsoft.com/office/drawing/2014/main" id="{00F30F2A-0706-4E04-9CDB-8122010C4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8873" y="0"/>
              <a:ext cx="678569" cy="67856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Picture 4" descr="Picture 4">
              <a:extLst>
                <a:ext uri="{FF2B5EF4-FFF2-40B4-BE49-F238E27FC236}">
                  <a16:creationId xmlns:a16="http://schemas.microsoft.com/office/drawing/2014/main" id="{3658B991-9F72-489C-8289-084EAB796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12604"/>
              <a:ext cx="530790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27" name="Groupe 1">
              <a:extLst>
                <a:ext uri="{FF2B5EF4-FFF2-40B4-BE49-F238E27FC236}">
                  <a16:creationId xmlns:a16="http://schemas.microsoft.com/office/drawing/2014/main" id="{D45CDE27-AD17-4B52-9CCB-EFA1C02561C9}"/>
                </a:ext>
              </a:extLst>
            </p:cNvPr>
            <p:cNvGrpSpPr/>
            <p:nvPr/>
          </p:nvGrpSpPr>
          <p:grpSpPr>
            <a:xfrm>
              <a:off x="4141019" y="79579"/>
              <a:ext cx="635741" cy="589590"/>
              <a:chOff x="0" y="0"/>
              <a:chExt cx="635739" cy="589589"/>
            </a:xfrm>
          </p:grpSpPr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5BB38649-3415-403C-87C7-93859DCBD717}"/>
                  </a:ext>
                </a:extLst>
              </p:cNvPr>
              <p:cNvSpPr/>
              <p:nvPr/>
            </p:nvSpPr>
            <p:spPr>
              <a:xfrm>
                <a:off x="217563" y="246760"/>
                <a:ext cx="418177" cy="3428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0" name="Freeform 14">
                <a:extLst>
                  <a:ext uri="{FF2B5EF4-FFF2-40B4-BE49-F238E27FC236}">
                    <a16:creationId xmlns:a16="http://schemas.microsoft.com/office/drawing/2014/main" id="{C7A98F42-829D-4477-A633-F0916CBD3388}"/>
                  </a:ext>
                </a:extLst>
              </p:cNvPr>
              <p:cNvSpPr/>
              <p:nvPr/>
            </p:nvSpPr>
            <p:spPr>
              <a:xfrm>
                <a:off x="-1" y="0"/>
                <a:ext cx="635741" cy="5370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28" name="Picture 2" descr="Picture 2">
              <a:extLst>
                <a:ext uri="{FF2B5EF4-FFF2-40B4-BE49-F238E27FC236}">
                  <a16:creationId xmlns:a16="http://schemas.microsoft.com/office/drawing/2014/main" id="{94993714-E8E0-4838-BD1D-67104A82C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5525" y="25816"/>
              <a:ext cx="655322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1" name="Capgemini Invent 2020. All rights reserved">
            <a:extLst>
              <a:ext uri="{FF2B5EF4-FFF2-40B4-BE49-F238E27FC236}">
                <a16:creationId xmlns:a16="http://schemas.microsoft.com/office/drawing/2014/main" id="{B0A2A81F-5754-4D37-BA1A-FE5463A158A4}"/>
              </a:ext>
            </a:extLst>
          </p:cNvPr>
          <p:cNvSpPr txBox="1"/>
          <p:nvPr userDrawn="1"/>
        </p:nvSpPr>
        <p:spPr>
          <a:xfrm>
            <a:off x="9743999" y="6387120"/>
            <a:ext cx="1839302" cy="1901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2860" rIns="22860" anchor="b"/>
          <a:lstStyle>
            <a:lvl1pPr algn="r" defTabSz="914400">
              <a:spcBef>
                <a:spcPts val="1000"/>
              </a:spcBef>
              <a:defRPr sz="1400">
                <a:solidFill>
                  <a:srgbClr val="4649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457200" hangingPunct="0">
              <a:spcBef>
                <a:spcPts val="500"/>
              </a:spcBef>
              <a:defRPr/>
            </a:pPr>
            <a:r>
              <a:rPr sz="700" kern="0"/>
              <a:t>Capgemini Invent 202</a:t>
            </a:r>
            <a:r>
              <a:rPr lang="fr-FR" sz="700" kern="0"/>
              <a:t>1</a:t>
            </a:r>
            <a:r>
              <a:rPr sz="700" kern="0"/>
              <a:t>. All rights reserved</a:t>
            </a:r>
          </a:p>
        </p:txBody>
      </p:sp>
      <p:pic>
        <p:nvPicPr>
          <p:cNvPr id="32" name="mob@2x.png" descr="mob@2x.png">
            <a:extLst>
              <a:ext uri="{FF2B5EF4-FFF2-40B4-BE49-F238E27FC236}">
                <a16:creationId xmlns:a16="http://schemas.microsoft.com/office/drawing/2014/main" id="{3C45EEF5-988E-4A3A-B86D-5A452730E71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9843" y="293142"/>
            <a:ext cx="504826" cy="1755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21074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</p:sldLayoutIdLst>
  <p:transition spd="med"/>
  <p:txStyles>
    <p:titleStyle>
      <a:lvl1pPr marL="0" marR="0" indent="0" algn="l" defTabSz="121916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-40" baseline="0">
          <a:solidFill>
            <a:srgbClr val="46496A"/>
          </a:solidFill>
          <a:uFillTx/>
          <a:latin typeface="Corbel" panose="020B0503020204020204" pitchFamily="34" charset="0"/>
          <a:ea typeface="+mn-ea"/>
          <a:cs typeface="Arial" panose="020B0604020202020204" pitchFamily="34" charset="0"/>
          <a:sym typeface="Futura"/>
        </a:defRPr>
      </a:lvl1pPr>
      <a:lvl2pPr marL="0" marR="0" indent="228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9pPr>
    </p:titleStyle>
    <p:bodyStyle>
      <a:lvl1pPr marL="304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Corbel" panose="020B0503020204020204" pitchFamily="34" charset="0"/>
          <a:ea typeface="Corbel" panose="020B0503020204020204" pitchFamily="34" charset="0"/>
          <a:cs typeface="Arial" panose="020B0604020202020204" pitchFamily="34" charset="0"/>
          <a:sym typeface="Helvetica Neue"/>
        </a:defRPr>
      </a:lvl1pPr>
      <a:lvl2pPr marL="609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2pPr>
      <a:lvl3pPr marL="914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3pPr>
      <a:lvl4pPr marL="1219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4pPr>
      <a:lvl5pPr marL="15240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5pPr>
      <a:lvl6pPr marL="1828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133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438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743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3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4846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grpSp>
        <p:nvGrpSpPr>
          <p:cNvPr id="23" name="Groupe">
            <a:extLst>
              <a:ext uri="{FF2B5EF4-FFF2-40B4-BE49-F238E27FC236}">
                <a16:creationId xmlns:a16="http://schemas.microsoft.com/office/drawing/2014/main" id="{2F5D0881-49C4-463D-934C-58BB8136FE55}"/>
              </a:ext>
            </a:extLst>
          </p:cNvPr>
          <p:cNvGrpSpPr/>
          <p:nvPr userDrawn="1"/>
        </p:nvGrpSpPr>
        <p:grpSpPr>
          <a:xfrm>
            <a:off x="635867" y="6229382"/>
            <a:ext cx="2388380" cy="340569"/>
            <a:chOff x="0" y="0"/>
            <a:chExt cx="4776759" cy="681136"/>
          </a:xfrm>
        </p:grpSpPr>
        <p:pic>
          <p:nvPicPr>
            <p:cNvPr id="24" name="Picture 13" descr="Picture 13">
              <a:extLst>
                <a:ext uri="{FF2B5EF4-FFF2-40B4-BE49-F238E27FC236}">
                  <a16:creationId xmlns:a16="http://schemas.microsoft.com/office/drawing/2014/main" id="{0EFA5148-95C6-496B-ABD1-69A10154D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667778" y="44488"/>
              <a:ext cx="1163994" cy="58959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Picture 2" descr="Picture 2">
              <a:extLst>
                <a:ext uri="{FF2B5EF4-FFF2-40B4-BE49-F238E27FC236}">
                  <a16:creationId xmlns:a16="http://schemas.microsoft.com/office/drawing/2014/main" id="{00F30F2A-0706-4E04-9CDB-8122010C4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98873" y="0"/>
              <a:ext cx="678569" cy="67856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Picture 4" descr="Picture 4">
              <a:extLst>
                <a:ext uri="{FF2B5EF4-FFF2-40B4-BE49-F238E27FC236}">
                  <a16:creationId xmlns:a16="http://schemas.microsoft.com/office/drawing/2014/main" id="{3658B991-9F72-489C-8289-084EAB796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0" y="12604"/>
              <a:ext cx="530790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27" name="Groupe 1">
              <a:extLst>
                <a:ext uri="{FF2B5EF4-FFF2-40B4-BE49-F238E27FC236}">
                  <a16:creationId xmlns:a16="http://schemas.microsoft.com/office/drawing/2014/main" id="{D45CDE27-AD17-4B52-9CCB-EFA1C02561C9}"/>
                </a:ext>
              </a:extLst>
            </p:cNvPr>
            <p:cNvGrpSpPr/>
            <p:nvPr/>
          </p:nvGrpSpPr>
          <p:grpSpPr>
            <a:xfrm>
              <a:off x="4141019" y="79579"/>
              <a:ext cx="635741" cy="589590"/>
              <a:chOff x="0" y="0"/>
              <a:chExt cx="635739" cy="589589"/>
            </a:xfrm>
          </p:grpSpPr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5BB38649-3415-403C-87C7-93859DCBD717}"/>
                  </a:ext>
                </a:extLst>
              </p:cNvPr>
              <p:cNvSpPr/>
              <p:nvPr/>
            </p:nvSpPr>
            <p:spPr>
              <a:xfrm>
                <a:off x="217563" y="246760"/>
                <a:ext cx="418177" cy="3428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0" name="Freeform 14">
                <a:extLst>
                  <a:ext uri="{FF2B5EF4-FFF2-40B4-BE49-F238E27FC236}">
                    <a16:creationId xmlns:a16="http://schemas.microsoft.com/office/drawing/2014/main" id="{C7A98F42-829D-4477-A633-F0916CBD3388}"/>
                  </a:ext>
                </a:extLst>
              </p:cNvPr>
              <p:cNvSpPr/>
              <p:nvPr/>
            </p:nvSpPr>
            <p:spPr>
              <a:xfrm>
                <a:off x="-1" y="0"/>
                <a:ext cx="635741" cy="5370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28" name="Picture 2" descr="Picture 2">
              <a:extLst>
                <a:ext uri="{FF2B5EF4-FFF2-40B4-BE49-F238E27FC236}">
                  <a16:creationId xmlns:a16="http://schemas.microsoft.com/office/drawing/2014/main" id="{94993714-E8E0-4838-BD1D-67104A82C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745525" y="25816"/>
              <a:ext cx="655322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1" name="Capgemini Invent 2020. All rights reserved">
            <a:extLst>
              <a:ext uri="{FF2B5EF4-FFF2-40B4-BE49-F238E27FC236}">
                <a16:creationId xmlns:a16="http://schemas.microsoft.com/office/drawing/2014/main" id="{B0A2A81F-5754-4D37-BA1A-FE5463A158A4}"/>
              </a:ext>
            </a:extLst>
          </p:cNvPr>
          <p:cNvSpPr txBox="1"/>
          <p:nvPr userDrawn="1"/>
        </p:nvSpPr>
        <p:spPr>
          <a:xfrm>
            <a:off x="9743999" y="6387121"/>
            <a:ext cx="1839302" cy="1901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60" rIns="22860" anchor="b"/>
          <a:lstStyle>
            <a:lvl1pPr algn="r" defTabSz="914400">
              <a:spcBef>
                <a:spcPts val="1000"/>
              </a:spcBef>
              <a:defRPr sz="1400">
                <a:solidFill>
                  <a:srgbClr val="4649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457200" hangingPunct="0">
              <a:spcBef>
                <a:spcPts val="500"/>
              </a:spcBef>
              <a:defRPr/>
            </a:pPr>
            <a:r>
              <a:rPr sz="700" kern="0"/>
              <a:t>Capgemini Invent 202</a:t>
            </a:r>
            <a:r>
              <a:rPr lang="fr-FR" sz="700" kern="0"/>
              <a:t>1</a:t>
            </a:r>
            <a:r>
              <a:rPr sz="700" kern="0"/>
              <a:t>. All rights reserved</a:t>
            </a:r>
          </a:p>
        </p:txBody>
      </p:sp>
      <p:pic>
        <p:nvPicPr>
          <p:cNvPr id="32" name="mob@2x.png" descr="mob@2x.png">
            <a:extLst>
              <a:ext uri="{FF2B5EF4-FFF2-40B4-BE49-F238E27FC236}">
                <a16:creationId xmlns:a16="http://schemas.microsoft.com/office/drawing/2014/main" id="{3C45EEF5-988E-4A3A-B86D-5A452730E71A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1049843" y="293142"/>
            <a:ext cx="504826" cy="1755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60578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</p:sldLayoutIdLst>
  <p:transition spd="med"/>
  <p:txStyles>
    <p:titleStyle>
      <a:lvl1pPr marL="0" marR="0" indent="0" algn="l" defTabSz="121916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-40" baseline="0">
          <a:solidFill>
            <a:srgbClr val="46496A"/>
          </a:solidFill>
          <a:uFillTx/>
          <a:latin typeface="Arial" panose="020B0604020202020204" pitchFamily="34" charset="0"/>
          <a:ea typeface="+mn-ea"/>
          <a:cs typeface="Arial" panose="020B0604020202020204" pitchFamily="34" charset="0"/>
          <a:sym typeface="Futura"/>
        </a:defRPr>
      </a:lvl1pPr>
      <a:lvl2pPr marL="0" marR="0" indent="228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9pPr>
    </p:titleStyle>
    <p:bodyStyle>
      <a:lvl1pPr marL="304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1pPr>
      <a:lvl2pPr marL="609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2pPr>
      <a:lvl3pPr marL="914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3pPr>
      <a:lvl4pPr marL="1219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4pPr>
      <a:lvl5pPr marL="15240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5pPr>
      <a:lvl6pPr marL="1828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133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438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743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3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602827" y="1571414"/>
            <a:ext cx="10985923" cy="43552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1159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grpSp>
        <p:nvGrpSpPr>
          <p:cNvPr id="23" name="Groupe">
            <a:extLst>
              <a:ext uri="{FF2B5EF4-FFF2-40B4-BE49-F238E27FC236}">
                <a16:creationId xmlns:a16="http://schemas.microsoft.com/office/drawing/2014/main" id="{2F5D0881-49C4-463D-934C-58BB8136FE55}"/>
              </a:ext>
            </a:extLst>
          </p:cNvPr>
          <p:cNvGrpSpPr/>
          <p:nvPr userDrawn="1"/>
        </p:nvGrpSpPr>
        <p:grpSpPr>
          <a:xfrm>
            <a:off x="635867" y="6229381"/>
            <a:ext cx="2388380" cy="340569"/>
            <a:chOff x="0" y="0"/>
            <a:chExt cx="4776759" cy="681136"/>
          </a:xfrm>
        </p:grpSpPr>
        <p:pic>
          <p:nvPicPr>
            <p:cNvPr id="24" name="Picture 13" descr="Picture 13">
              <a:extLst>
                <a:ext uri="{FF2B5EF4-FFF2-40B4-BE49-F238E27FC236}">
                  <a16:creationId xmlns:a16="http://schemas.microsoft.com/office/drawing/2014/main" id="{0EFA5148-95C6-496B-ABD1-69A10154D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7778" y="44488"/>
              <a:ext cx="1163994" cy="58959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Picture 2" descr="Picture 2">
              <a:extLst>
                <a:ext uri="{FF2B5EF4-FFF2-40B4-BE49-F238E27FC236}">
                  <a16:creationId xmlns:a16="http://schemas.microsoft.com/office/drawing/2014/main" id="{00F30F2A-0706-4E04-9CDB-8122010C4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8873" y="0"/>
              <a:ext cx="678569" cy="67856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Picture 4" descr="Picture 4">
              <a:extLst>
                <a:ext uri="{FF2B5EF4-FFF2-40B4-BE49-F238E27FC236}">
                  <a16:creationId xmlns:a16="http://schemas.microsoft.com/office/drawing/2014/main" id="{3658B991-9F72-489C-8289-084EAB796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12604"/>
              <a:ext cx="530790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27" name="Groupe 1">
              <a:extLst>
                <a:ext uri="{FF2B5EF4-FFF2-40B4-BE49-F238E27FC236}">
                  <a16:creationId xmlns:a16="http://schemas.microsoft.com/office/drawing/2014/main" id="{D45CDE27-AD17-4B52-9CCB-EFA1C02561C9}"/>
                </a:ext>
              </a:extLst>
            </p:cNvPr>
            <p:cNvGrpSpPr/>
            <p:nvPr/>
          </p:nvGrpSpPr>
          <p:grpSpPr>
            <a:xfrm>
              <a:off x="4141019" y="79579"/>
              <a:ext cx="635741" cy="589590"/>
              <a:chOff x="0" y="0"/>
              <a:chExt cx="635739" cy="589589"/>
            </a:xfrm>
          </p:grpSpPr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5BB38649-3415-403C-87C7-93859DCBD717}"/>
                  </a:ext>
                </a:extLst>
              </p:cNvPr>
              <p:cNvSpPr/>
              <p:nvPr/>
            </p:nvSpPr>
            <p:spPr>
              <a:xfrm>
                <a:off x="217563" y="246760"/>
                <a:ext cx="418177" cy="3428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0" name="Freeform 14">
                <a:extLst>
                  <a:ext uri="{FF2B5EF4-FFF2-40B4-BE49-F238E27FC236}">
                    <a16:creationId xmlns:a16="http://schemas.microsoft.com/office/drawing/2014/main" id="{C7A98F42-829D-4477-A633-F0916CBD3388}"/>
                  </a:ext>
                </a:extLst>
              </p:cNvPr>
              <p:cNvSpPr/>
              <p:nvPr/>
            </p:nvSpPr>
            <p:spPr>
              <a:xfrm>
                <a:off x="-1" y="0"/>
                <a:ext cx="635741" cy="5370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28" name="Picture 2" descr="Picture 2">
              <a:extLst>
                <a:ext uri="{FF2B5EF4-FFF2-40B4-BE49-F238E27FC236}">
                  <a16:creationId xmlns:a16="http://schemas.microsoft.com/office/drawing/2014/main" id="{94993714-E8E0-4838-BD1D-67104A82C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5525" y="25816"/>
              <a:ext cx="655322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1" name="Capgemini Invent 2020. All rights reserved">
            <a:extLst>
              <a:ext uri="{FF2B5EF4-FFF2-40B4-BE49-F238E27FC236}">
                <a16:creationId xmlns:a16="http://schemas.microsoft.com/office/drawing/2014/main" id="{B0A2A81F-5754-4D37-BA1A-FE5463A158A4}"/>
              </a:ext>
            </a:extLst>
          </p:cNvPr>
          <p:cNvSpPr txBox="1"/>
          <p:nvPr userDrawn="1"/>
        </p:nvSpPr>
        <p:spPr>
          <a:xfrm>
            <a:off x="9743999" y="6387120"/>
            <a:ext cx="1839302" cy="1901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2860" rIns="22860" anchor="b"/>
          <a:lstStyle>
            <a:lvl1pPr algn="r" defTabSz="914400">
              <a:spcBef>
                <a:spcPts val="1000"/>
              </a:spcBef>
              <a:defRPr sz="1400">
                <a:solidFill>
                  <a:srgbClr val="4649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457200" hangingPunct="0">
              <a:spcBef>
                <a:spcPts val="500"/>
              </a:spcBef>
              <a:defRPr/>
            </a:pPr>
            <a:r>
              <a:rPr sz="700" kern="0"/>
              <a:t>Capgemini Invent 202</a:t>
            </a:r>
            <a:r>
              <a:rPr lang="fr-FR" sz="700" kern="0"/>
              <a:t>1</a:t>
            </a:r>
            <a:r>
              <a:rPr sz="700" kern="0"/>
              <a:t>. All rights reserved</a:t>
            </a:r>
          </a:p>
        </p:txBody>
      </p:sp>
      <p:pic>
        <p:nvPicPr>
          <p:cNvPr id="32" name="mob@2x.png" descr="mob@2x.png">
            <a:extLst>
              <a:ext uri="{FF2B5EF4-FFF2-40B4-BE49-F238E27FC236}">
                <a16:creationId xmlns:a16="http://schemas.microsoft.com/office/drawing/2014/main" id="{3C45EEF5-988E-4A3A-B86D-5A452730E71A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9843" y="293142"/>
            <a:ext cx="504826" cy="1755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02516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87" r:id="rId14"/>
  </p:sldLayoutIdLst>
  <p:transition spd="med"/>
  <p:txStyles>
    <p:titleStyle>
      <a:lvl1pPr marL="0" marR="0" indent="0" algn="l" defTabSz="121916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-40" baseline="0">
          <a:solidFill>
            <a:srgbClr val="46496A"/>
          </a:solidFill>
          <a:uFillTx/>
          <a:latin typeface="Corbel" panose="020B0503020204020204" pitchFamily="34" charset="0"/>
          <a:ea typeface="+mn-ea"/>
          <a:cs typeface="Arial" panose="020B0604020202020204" pitchFamily="34" charset="0"/>
          <a:sym typeface="Futura"/>
        </a:defRPr>
      </a:lvl1pPr>
      <a:lvl2pPr marL="0" marR="0" indent="228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9pPr>
    </p:titleStyle>
    <p:bodyStyle>
      <a:lvl1pPr marL="304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Corbel" panose="020B0503020204020204" pitchFamily="34" charset="0"/>
          <a:ea typeface="Corbel" panose="020B0503020204020204" pitchFamily="34" charset="0"/>
          <a:cs typeface="Arial" panose="020B0604020202020204" pitchFamily="34" charset="0"/>
          <a:sym typeface="Helvetica Neue"/>
        </a:defRPr>
      </a:lvl1pPr>
      <a:lvl2pPr marL="609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2pPr>
      <a:lvl3pPr marL="914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3pPr>
      <a:lvl4pPr marL="1219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4pPr>
      <a:lvl5pPr marL="15240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5pPr>
      <a:lvl6pPr marL="1828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133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438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743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de diapositiv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itre</a:t>
            </a:r>
            <a:r>
              <a:t> de diapositive</a:t>
            </a:r>
          </a:p>
        </p:txBody>
      </p:sp>
      <p:sp>
        <p:nvSpPr>
          <p:cNvPr id="3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err="1"/>
              <a:t>Texte</a:t>
            </a:r>
            <a:r>
              <a:t>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6012862" y="6517486"/>
            <a:ext cx="248466" cy="21031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92100">
              <a:defRPr sz="700">
                <a:solidFill>
                  <a:srgbClr val="000000"/>
                </a:solidFill>
                <a:latin typeface="+mn-lt"/>
                <a:ea typeface="+mn-ea"/>
                <a:cs typeface="+mn-cs"/>
                <a:sym typeface="Futura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grpSp>
        <p:nvGrpSpPr>
          <p:cNvPr id="23" name="Groupe">
            <a:extLst>
              <a:ext uri="{FF2B5EF4-FFF2-40B4-BE49-F238E27FC236}">
                <a16:creationId xmlns:a16="http://schemas.microsoft.com/office/drawing/2014/main" id="{2F5D0881-49C4-463D-934C-58BB8136FE55}"/>
              </a:ext>
            </a:extLst>
          </p:cNvPr>
          <p:cNvGrpSpPr/>
          <p:nvPr userDrawn="1"/>
        </p:nvGrpSpPr>
        <p:grpSpPr>
          <a:xfrm>
            <a:off x="635867" y="6229382"/>
            <a:ext cx="2388380" cy="340569"/>
            <a:chOff x="0" y="0"/>
            <a:chExt cx="4776759" cy="681136"/>
          </a:xfrm>
        </p:grpSpPr>
        <p:pic>
          <p:nvPicPr>
            <p:cNvPr id="24" name="Picture 13" descr="Picture 13">
              <a:extLst>
                <a:ext uri="{FF2B5EF4-FFF2-40B4-BE49-F238E27FC236}">
                  <a16:creationId xmlns:a16="http://schemas.microsoft.com/office/drawing/2014/main" id="{0EFA5148-95C6-496B-ABD1-69A10154D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667778" y="44488"/>
              <a:ext cx="1163994" cy="58959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" name="Picture 2" descr="Picture 2">
              <a:extLst>
                <a:ext uri="{FF2B5EF4-FFF2-40B4-BE49-F238E27FC236}">
                  <a16:creationId xmlns:a16="http://schemas.microsoft.com/office/drawing/2014/main" id="{00F30F2A-0706-4E04-9CDB-8122010C4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98873" y="0"/>
              <a:ext cx="678569" cy="67856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" name="Picture 4" descr="Picture 4">
              <a:extLst>
                <a:ext uri="{FF2B5EF4-FFF2-40B4-BE49-F238E27FC236}">
                  <a16:creationId xmlns:a16="http://schemas.microsoft.com/office/drawing/2014/main" id="{3658B991-9F72-489C-8289-084EAB796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0" y="12604"/>
              <a:ext cx="530790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27" name="Groupe 1">
              <a:extLst>
                <a:ext uri="{FF2B5EF4-FFF2-40B4-BE49-F238E27FC236}">
                  <a16:creationId xmlns:a16="http://schemas.microsoft.com/office/drawing/2014/main" id="{D45CDE27-AD17-4B52-9CCB-EFA1C02561C9}"/>
                </a:ext>
              </a:extLst>
            </p:cNvPr>
            <p:cNvGrpSpPr/>
            <p:nvPr/>
          </p:nvGrpSpPr>
          <p:grpSpPr>
            <a:xfrm>
              <a:off x="4141019" y="79579"/>
              <a:ext cx="635741" cy="589590"/>
              <a:chOff x="0" y="0"/>
              <a:chExt cx="635739" cy="589589"/>
            </a:xfrm>
          </p:grpSpPr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5BB38649-3415-403C-87C7-93859DCBD717}"/>
                  </a:ext>
                </a:extLst>
              </p:cNvPr>
              <p:cNvSpPr/>
              <p:nvPr/>
            </p:nvSpPr>
            <p:spPr>
              <a:xfrm>
                <a:off x="217563" y="246760"/>
                <a:ext cx="418177" cy="3428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362" y="15008"/>
                    </a:moveTo>
                    <a:cubicBezTo>
                      <a:pt x="18383" y="15008"/>
                      <a:pt x="21600" y="10940"/>
                      <a:pt x="21600" y="6031"/>
                    </a:cubicBezTo>
                    <a:cubicBezTo>
                      <a:pt x="21370" y="3927"/>
                      <a:pt x="20796" y="0"/>
                      <a:pt x="16200" y="0"/>
                    </a:cubicBezTo>
                    <a:cubicBezTo>
                      <a:pt x="11374" y="0"/>
                      <a:pt x="9651" y="8416"/>
                      <a:pt x="5630" y="13886"/>
                    </a:cubicBezTo>
                    <a:cubicBezTo>
                      <a:pt x="5400" y="16971"/>
                      <a:pt x="2987" y="19636"/>
                      <a:pt x="0" y="20197"/>
                    </a:cubicBezTo>
                    <a:cubicBezTo>
                      <a:pt x="689" y="21039"/>
                      <a:pt x="2298" y="21600"/>
                      <a:pt x="4251" y="21600"/>
                    </a:cubicBezTo>
                    <a:cubicBezTo>
                      <a:pt x="7813" y="21600"/>
                      <a:pt x="12179" y="20338"/>
                      <a:pt x="14362" y="17532"/>
                    </a:cubicBezTo>
                    <a:cubicBezTo>
                      <a:pt x="11374" y="17673"/>
                      <a:pt x="9421" y="15288"/>
                      <a:pt x="9306" y="12062"/>
                    </a:cubicBezTo>
                    <a:cubicBezTo>
                      <a:pt x="10685" y="14166"/>
                      <a:pt x="12409" y="15008"/>
                      <a:pt x="14362" y="15008"/>
                    </a:cubicBezTo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  <p:sp>
            <p:nvSpPr>
              <p:cNvPr id="30" name="Freeform 14">
                <a:extLst>
                  <a:ext uri="{FF2B5EF4-FFF2-40B4-BE49-F238E27FC236}">
                    <a16:creationId xmlns:a16="http://schemas.microsoft.com/office/drawing/2014/main" id="{C7A98F42-829D-4477-A633-F0916CBD3388}"/>
                  </a:ext>
                </a:extLst>
              </p:cNvPr>
              <p:cNvSpPr/>
              <p:nvPr/>
            </p:nvSpPr>
            <p:spPr>
              <a:xfrm>
                <a:off x="-1" y="0"/>
                <a:ext cx="635741" cy="5370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21600" y="13511"/>
                    </a:moveTo>
                    <a:cubicBezTo>
                      <a:pt x="21600" y="9956"/>
                      <a:pt x="20090" y="6933"/>
                      <a:pt x="17899" y="4533"/>
                    </a:cubicBezTo>
                    <a:cubicBezTo>
                      <a:pt x="16238" y="2667"/>
                      <a:pt x="14199" y="1333"/>
                      <a:pt x="12084" y="267"/>
                    </a:cubicBezTo>
                    <a:cubicBezTo>
                      <a:pt x="11933" y="178"/>
                      <a:pt x="11782" y="89"/>
                      <a:pt x="11555" y="0"/>
                    </a:cubicBezTo>
                    <a:cubicBezTo>
                      <a:pt x="11555" y="0"/>
                      <a:pt x="11555" y="0"/>
                      <a:pt x="11555" y="0"/>
                    </a:cubicBezTo>
                    <a:cubicBezTo>
                      <a:pt x="8987" y="3644"/>
                      <a:pt x="0" y="6400"/>
                      <a:pt x="0" y="14044"/>
                    </a:cubicBezTo>
                    <a:cubicBezTo>
                      <a:pt x="0" y="17067"/>
                      <a:pt x="1586" y="19911"/>
                      <a:pt x="4003" y="20978"/>
                    </a:cubicBezTo>
                    <a:cubicBezTo>
                      <a:pt x="5362" y="21600"/>
                      <a:pt x="6722" y="21600"/>
                      <a:pt x="8081" y="21067"/>
                    </a:cubicBezTo>
                    <a:cubicBezTo>
                      <a:pt x="9290" y="20622"/>
                      <a:pt x="10271" y="19733"/>
                      <a:pt x="11102" y="18667"/>
                    </a:cubicBezTo>
                    <a:cubicBezTo>
                      <a:pt x="13745" y="15200"/>
                      <a:pt x="14878" y="9867"/>
                      <a:pt x="18050" y="9867"/>
                    </a:cubicBezTo>
                    <a:cubicBezTo>
                      <a:pt x="21071" y="9867"/>
                      <a:pt x="21449" y="12356"/>
                      <a:pt x="21600" y="13689"/>
                    </a:cubicBezTo>
                    <a:cubicBezTo>
                      <a:pt x="21600" y="13689"/>
                      <a:pt x="21600" y="13600"/>
                      <a:pt x="21600" y="13511"/>
                    </a:cubicBezTo>
                  </a:path>
                </a:pathLst>
              </a:custGeom>
              <a:solidFill>
                <a:srgbClr val="000000">
                  <a:alpha val="63089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2860" tIns="22860" rIns="22860" bIns="22860" numCol="1" anchor="t">
                <a:noAutofit/>
              </a:bodyPr>
              <a:lstStyle/>
              <a:p>
                <a:pPr defTabSz="457200" hangingPunct="0">
                  <a:spcBef>
                    <a:spcPts val="300"/>
                  </a:spcBef>
                  <a:defRPr sz="1800">
                    <a:solidFill>
                      <a:srgbClr val="00C790"/>
                    </a:solidFill>
                    <a:latin typeface="Verdana"/>
                    <a:ea typeface="Verdana"/>
                    <a:cs typeface="Verdana"/>
                    <a:sym typeface="Verdana"/>
                  </a:defRPr>
                </a:pPr>
                <a:endParaRPr sz="900" kern="0">
                  <a:solidFill>
                    <a:srgbClr val="00C790"/>
                  </a:solidFill>
                  <a:latin typeface="Verdana"/>
                  <a:ea typeface="Verdana"/>
                  <a:sym typeface="Verdana"/>
                </a:endParaRPr>
              </a:p>
            </p:txBody>
          </p:sp>
        </p:grpSp>
        <p:pic>
          <p:nvPicPr>
            <p:cNvPr id="28" name="Picture 2" descr="Picture 2">
              <a:extLst>
                <a:ext uri="{FF2B5EF4-FFF2-40B4-BE49-F238E27FC236}">
                  <a16:creationId xmlns:a16="http://schemas.microsoft.com/office/drawing/2014/main" id="{94993714-E8E0-4838-BD1D-67104A82C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745525" y="25816"/>
              <a:ext cx="655322" cy="65532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1" name="Capgemini Invent 2020. All rights reserved">
            <a:extLst>
              <a:ext uri="{FF2B5EF4-FFF2-40B4-BE49-F238E27FC236}">
                <a16:creationId xmlns:a16="http://schemas.microsoft.com/office/drawing/2014/main" id="{B0A2A81F-5754-4D37-BA1A-FE5463A158A4}"/>
              </a:ext>
            </a:extLst>
          </p:cNvPr>
          <p:cNvSpPr txBox="1"/>
          <p:nvPr userDrawn="1"/>
        </p:nvSpPr>
        <p:spPr>
          <a:xfrm>
            <a:off x="9743999" y="6387121"/>
            <a:ext cx="1839302" cy="1901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2860" rIns="22860" anchor="b"/>
          <a:lstStyle>
            <a:lvl1pPr algn="r" defTabSz="914400">
              <a:spcBef>
                <a:spcPts val="1000"/>
              </a:spcBef>
              <a:defRPr sz="1400">
                <a:solidFill>
                  <a:srgbClr val="4649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457200" hangingPunct="0">
              <a:spcBef>
                <a:spcPts val="500"/>
              </a:spcBef>
              <a:defRPr/>
            </a:pPr>
            <a:r>
              <a:rPr sz="700" kern="0"/>
              <a:t>Capgemini Invent 202</a:t>
            </a:r>
            <a:r>
              <a:rPr lang="fr-FR" sz="700" kern="0"/>
              <a:t>1</a:t>
            </a:r>
            <a:r>
              <a:rPr sz="700" kern="0"/>
              <a:t>. All rights reserved</a:t>
            </a:r>
          </a:p>
        </p:txBody>
      </p:sp>
      <p:pic>
        <p:nvPicPr>
          <p:cNvPr id="32" name="mob@2x.png" descr="mob@2x.png">
            <a:extLst>
              <a:ext uri="{FF2B5EF4-FFF2-40B4-BE49-F238E27FC236}">
                <a16:creationId xmlns:a16="http://schemas.microsoft.com/office/drawing/2014/main" id="{3C45EEF5-988E-4A3A-B86D-5A452730E71A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1049843" y="293142"/>
            <a:ext cx="504826" cy="1755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08253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</p:sldLayoutIdLst>
  <p:transition spd="med"/>
  <p:txStyles>
    <p:titleStyle>
      <a:lvl1pPr marL="0" marR="0" indent="0" algn="l" defTabSz="121916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-40" baseline="0">
          <a:solidFill>
            <a:srgbClr val="46496A"/>
          </a:solidFill>
          <a:uFillTx/>
          <a:latin typeface="Arial" panose="020B0604020202020204" pitchFamily="34" charset="0"/>
          <a:ea typeface="+mn-ea"/>
          <a:cs typeface="Arial" panose="020B0604020202020204" pitchFamily="34" charset="0"/>
          <a:sym typeface="Futura"/>
        </a:defRPr>
      </a:lvl1pPr>
      <a:lvl2pPr marL="0" marR="0" indent="228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-40" baseline="0">
          <a:solidFill>
            <a:srgbClr val="46496A"/>
          </a:solidFill>
          <a:uFillTx/>
          <a:latin typeface="+mn-lt"/>
          <a:ea typeface="+mn-ea"/>
          <a:cs typeface="+mn-cs"/>
          <a:sym typeface="Futura"/>
        </a:defRPr>
      </a:lvl9pPr>
    </p:titleStyle>
    <p:bodyStyle>
      <a:lvl1pPr marL="304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1pPr>
      <a:lvl2pPr marL="609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2pPr>
      <a:lvl3pPr marL="914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3pPr>
      <a:lvl4pPr marL="1219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4pPr>
      <a:lvl5pPr marL="15240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Helvetica Neue"/>
        </a:defRPr>
      </a:lvl5pPr>
      <a:lvl6pPr marL="18288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1336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4384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743200" marR="0" indent="-304800" algn="l" defTabSz="1219169" rtl="0" latinLnBrk="0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tura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svg"/><Relationship Id="rId9" Type="http://schemas.openxmlformats.org/officeDocument/2006/relationships/image" Target="../media/image24.sv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4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45.png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0A0067-03AC-4462-994E-58560AF73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199" y="231712"/>
            <a:ext cx="10232819" cy="906208"/>
          </a:xfrm>
        </p:spPr>
        <p:txBody>
          <a:bodyPr/>
          <a:lstStyle/>
          <a:p>
            <a:r>
              <a:rPr lang="fr-FR"/>
              <a:t>Les travaux sur le programme MOB ont été étendus pour prendre en compte les enjeux de standardisation des MaaS</a:t>
            </a:r>
          </a:p>
        </p:txBody>
      </p:sp>
      <p:sp>
        <p:nvSpPr>
          <p:cNvPr id="31" name="Shape 303">
            <a:extLst>
              <a:ext uri="{FF2B5EF4-FFF2-40B4-BE49-F238E27FC236}">
                <a16:creationId xmlns:a16="http://schemas.microsoft.com/office/drawing/2014/main" id="{C74EEC89-CCA5-410F-92BA-B1AD333E59AA}"/>
              </a:ext>
            </a:extLst>
          </p:cNvPr>
          <p:cNvSpPr/>
          <p:nvPr/>
        </p:nvSpPr>
        <p:spPr>
          <a:xfrm>
            <a:off x="381045" y="1740763"/>
            <a:ext cx="565705" cy="560020"/>
          </a:xfrm>
          <a:prstGeom prst="ellipse">
            <a:avLst/>
          </a:prstGeom>
          <a:solidFill>
            <a:srgbClr val="5866D9"/>
          </a:solidFill>
          <a:ln>
            <a:noFill/>
          </a:ln>
        </p:spPr>
        <p:txBody>
          <a:bodyPr lIns="36000" tIns="45700" rIns="36000" bIns="45700" anchor="ctr" anchorCtr="0">
            <a:noAutofit/>
          </a:bodyPr>
          <a:lstStyle/>
          <a:p>
            <a:pPr lvl="0" algn="ctr">
              <a:buSzPct val="25000"/>
            </a:pPr>
            <a:r>
              <a:rPr lang="id-ID" sz="2000" b="1">
                <a:solidFill>
                  <a:srgbClr val="FFFFFF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01</a:t>
            </a:r>
          </a:p>
        </p:txBody>
      </p:sp>
      <p:sp>
        <p:nvSpPr>
          <p:cNvPr id="33" name="Shape 307">
            <a:extLst>
              <a:ext uri="{FF2B5EF4-FFF2-40B4-BE49-F238E27FC236}">
                <a16:creationId xmlns:a16="http://schemas.microsoft.com/office/drawing/2014/main" id="{13D57408-6CEB-49C4-AD5E-7A3091C2590E}"/>
              </a:ext>
            </a:extLst>
          </p:cNvPr>
          <p:cNvSpPr/>
          <p:nvPr/>
        </p:nvSpPr>
        <p:spPr>
          <a:xfrm>
            <a:off x="381045" y="3211973"/>
            <a:ext cx="565705" cy="560020"/>
          </a:xfrm>
          <a:prstGeom prst="ellipse">
            <a:avLst/>
          </a:prstGeom>
          <a:solidFill>
            <a:srgbClr val="FFD932"/>
          </a:solidFill>
          <a:ln>
            <a:noFill/>
          </a:ln>
        </p:spPr>
        <p:txBody>
          <a:bodyPr lIns="36000" tIns="45700" rIns="36000" bIns="45700" anchor="ctr" anchorCtr="0">
            <a:noAutofit/>
          </a:bodyPr>
          <a:lstStyle/>
          <a:p>
            <a:pPr lvl="0" algn="ctr">
              <a:buSzPct val="25000"/>
            </a:pPr>
            <a:r>
              <a:rPr lang="id-ID" sz="2000" b="1">
                <a:solidFill>
                  <a:srgbClr val="FFFFFF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0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3859-24C2-4E68-BCC4-53DAB8D4FC20}"/>
              </a:ext>
            </a:extLst>
          </p:cNvPr>
          <p:cNvSpPr/>
          <p:nvPr/>
        </p:nvSpPr>
        <p:spPr>
          <a:xfrm>
            <a:off x="1040527" y="1697607"/>
            <a:ext cx="32690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Les </a:t>
            </a:r>
            <a:r>
              <a:rPr lang="fr-FR" sz="1200" err="1">
                <a:latin typeface="Arial" panose="020B0604020202020204" pitchFamily="34" charset="0"/>
                <a:cs typeface="Arial" panose="020B0604020202020204" pitchFamily="34" charset="0"/>
              </a:rPr>
              <a:t>MaaS</a:t>
            </a: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 sont des acteurs majeurs de l’écosystème avec lesquels </a:t>
            </a:r>
            <a:r>
              <a:rPr lang="fr-FR" sz="1200" b="1">
                <a:solidFill>
                  <a:srgbClr val="5866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 </a:t>
            </a: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est amenée à </a:t>
            </a:r>
            <a:r>
              <a:rPr lang="fr-FR" sz="1200" b="1">
                <a:solidFill>
                  <a:srgbClr val="5866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quer</a:t>
            </a: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 et </a:t>
            </a:r>
            <a:r>
              <a:rPr lang="fr-FR" sz="1200" b="1">
                <a:solidFill>
                  <a:srgbClr val="5866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’interfacer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6BD5F4E-871F-4E08-A364-A8192C0C73B9}"/>
              </a:ext>
            </a:extLst>
          </p:cNvPr>
          <p:cNvSpPr/>
          <p:nvPr/>
        </p:nvSpPr>
        <p:spPr>
          <a:xfrm>
            <a:off x="1040527" y="3122651"/>
            <a:ext cx="32690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Les initiatives « MaaS » sont </a:t>
            </a:r>
            <a:r>
              <a:rPr lang="fr-FR" sz="120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FR" sz="1200" b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plein développement</a:t>
            </a:r>
            <a:r>
              <a:rPr lang="fr-FR" sz="1200" b="1">
                <a:solidFill>
                  <a:srgbClr val="01BF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&amp; plusieurs </a:t>
            </a:r>
            <a:r>
              <a:rPr lang="fr-FR" sz="1200" err="1">
                <a:latin typeface="Arial" panose="020B0604020202020204" pitchFamily="34" charset="0"/>
                <a:cs typeface="Arial" panose="020B0604020202020204" pitchFamily="34" charset="0"/>
              </a:rPr>
              <a:t>AOMs</a:t>
            </a: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, MSPs ont lancé ou s’apprêtent à lancer leur propres initiativ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2BC79B-31D3-4913-A10D-A02ABBE006D4}"/>
              </a:ext>
            </a:extLst>
          </p:cNvPr>
          <p:cNvSpPr/>
          <p:nvPr/>
        </p:nvSpPr>
        <p:spPr>
          <a:xfrm>
            <a:off x="1049840" y="4617532"/>
            <a:ext cx="32690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Apporter une </a:t>
            </a:r>
            <a:r>
              <a:rPr lang="fr-FR" sz="1200" b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 à la problématique d’universalité en </a:t>
            </a:r>
            <a:r>
              <a:rPr lang="fr-FR" sz="1200" b="1">
                <a:latin typeface="Arial" panose="020B0604020202020204" pitchFamily="34" charset="0"/>
                <a:cs typeface="Arial" panose="020B0604020202020204" pitchFamily="34" charset="0"/>
              </a:rPr>
              <a:t>définissant les principes techniques de standardisation et leurs conditions de mise en œuvre</a:t>
            </a:r>
          </a:p>
        </p:txBody>
      </p:sp>
      <p:sp>
        <p:nvSpPr>
          <p:cNvPr id="79" name="Shape 280">
            <a:extLst>
              <a:ext uri="{FF2B5EF4-FFF2-40B4-BE49-F238E27FC236}">
                <a16:creationId xmlns:a16="http://schemas.microsoft.com/office/drawing/2014/main" id="{BE2C77BE-CC6B-42AC-82C4-9690B58C7088}"/>
              </a:ext>
            </a:extLst>
          </p:cNvPr>
          <p:cNvSpPr/>
          <p:nvPr/>
        </p:nvSpPr>
        <p:spPr>
          <a:xfrm>
            <a:off x="4851400" y="2117865"/>
            <a:ext cx="3022600" cy="2885935"/>
          </a:xfrm>
          <a:prstGeom prst="ellipse">
            <a:avLst/>
          </a:prstGeom>
          <a:solidFill>
            <a:srgbClr val="01BF7D"/>
          </a:solidFill>
          <a:ln>
            <a:noFill/>
          </a:ln>
        </p:spPr>
        <p:txBody>
          <a:bodyPr lIns="243775" tIns="0" rIns="243775" bIns="0" anchor="ctr" anchorCtr="0">
            <a:noAutofit/>
          </a:bodyPr>
          <a:lstStyle/>
          <a:p>
            <a:pPr marL="0" marR="0" lvl="0" indent="0" algn="ctr" rtl="0">
              <a:lnSpc>
                <a:spcPct val="67000"/>
              </a:lnSpc>
              <a:spcBef>
                <a:spcPts val="0"/>
              </a:spcBef>
              <a:buNone/>
            </a:pPr>
            <a:endParaRPr sz="430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9A2B98B-FE40-4493-B23A-79EC65DF440C}"/>
              </a:ext>
            </a:extLst>
          </p:cNvPr>
          <p:cNvSpPr/>
          <p:nvPr/>
        </p:nvSpPr>
        <p:spPr>
          <a:xfrm>
            <a:off x="5250417" y="2720449"/>
            <a:ext cx="262145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JEUX</a:t>
            </a:r>
            <a:br>
              <a:rPr lang="fr-FR"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a standardisation des </a:t>
            </a:r>
            <a:r>
              <a:rPr lang="fr-FR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aS</a:t>
            </a:r>
            <a:r>
              <a:rPr lang="fr-F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fr-FR" sz="3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2" name="Shape 281">
            <a:extLst>
              <a:ext uri="{FF2B5EF4-FFF2-40B4-BE49-F238E27FC236}">
                <a16:creationId xmlns:a16="http://schemas.microsoft.com/office/drawing/2014/main" id="{BA279BF2-831D-428E-8D51-D079B3F2817A}"/>
              </a:ext>
            </a:extLst>
          </p:cNvPr>
          <p:cNvCxnSpPr>
            <a:cxnSpLocks/>
          </p:cNvCxnSpPr>
          <p:nvPr/>
        </p:nvCxnSpPr>
        <p:spPr>
          <a:xfrm flipV="1">
            <a:off x="6875911" y="1449482"/>
            <a:ext cx="742973" cy="987009"/>
          </a:xfrm>
          <a:prstGeom prst="straightConnector1">
            <a:avLst/>
          </a:prstGeom>
          <a:noFill/>
          <a:ln w="57150" cap="flat" cmpd="sng">
            <a:solidFill>
              <a:srgbClr val="01BF7D"/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83" name="Shape 303">
            <a:extLst>
              <a:ext uri="{FF2B5EF4-FFF2-40B4-BE49-F238E27FC236}">
                <a16:creationId xmlns:a16="http://schemas.microsoft.com/office/drawing/2014/main" id="{A0ADD37C-59BE-4186-945B-F01A7C922FF8}"/>
              </a:ext>
            </a:extLst>
          </p:cNvPr>
          <p:cNvSpPr/>
          <p:nvPr/>
        </p:nvSpPr>
        <p:spPr>
          <a:xfrm>
            <a:off x="7496137" y="1029467"/>
            <a:ext cx="565705" cy="560020"/>
          </a:xfrm>
          <a:prstGeom prst="ellipse">
            <a:avLst/>
          </a:prstGeom>
          <a:solidFill>
            <a:srgbClr val="01BF7D"/>
          </a:solidFill>
          <a:ln>
            <a:noFill/>
          </a:ln>
        </p:spPr>
        <p:txBody>
          <a:bodyPr lIns="36000" tIns="45700" rIns="36000" bIns="45700" anchor="ctr" anchorCtr="0">
            <a:noAutofit/>
          </a:bodyPr>
          <a:lstStyle/>
          <a:p>
            <a:pPr lvl="0" algn="ctr">
              <a:buSzPct val="25000"/>
            </a:pPr>
            <a:endParaRPr lang="id-ID" sz="2000" b="1">
              <a:solidFill>
                <a:srgbClr val="FFFFFF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cxnSp>
        <p:nvCxnSpPr>
          <p:cNvPr id="84" name="Shape 281">
            <a:extLst>
              <a:ext uri="{FF2B5EF4-FFF2-40B4-BE49-F238E27FC236}">
                <a16:creationId xmlns:a16="http://schemas.microsoft.com/office/drawing/2014/main" id="{1934F300-B2A7-4C25-98E3-A213D909BB93}"/>
              </a:ext>
            </a:extLst>
          </p:cNvPr>
          <p:cNvCxnSpPr>
            <a:cxnSpLocks/>
          </p:cNvCxnSpPr>
          <p:nvPr/>
        </p:nvCxnSpPr>
        <p:spPr>
          <a:xfrm flipV="1">
            <a:off x="7694630" y="2952342"/>
            <a:ext cx="721144" cy="424136"/>
          </a:xfrm>
          <a:prstGeom prst="straightConnector1">
            <a:avLst/>
          </a:prstGeom>
          <a:noFill/>
          <a:ln w="57150" cap="flat" cmpd="sng">
            <a:solidFill>
              <a:srgbClr val="01BF7D"/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85" name="Shape 303">
            <a:extLst>
              <a:ext uri="{FF2B5EF4-FFF2-40B4-BE49-F238E27FC236}">
                <a16:creationId xmlns:a16="http://schemas.microsoft.com/office/drawing/2014/main" id="{286920E1-E9CE-4331-9FB4-4381A320F856}"/>
              </a:ext>
            </a:extLst>
          </p:cNvPr>
          <p:cNvSpPr/>
          <p:nvPr/>
        </p:nvSpPr>
        <p:spPr>
          <a:xfrm>
            <a:off x="8391573" y="2550845"/>
            <a:ext cx="565705" cy="560020"/>
          </a:xfrm>
          <a:prstGeom prst="ellipse">
            <a:avLst/>
          </a:prstGeom>
          <a:solidFill>
            <a:srgbClr val="01BF7D"/>
          </a:solidFill>
          <a:ln>
            <a:noFill/>
          </a:ln>
        </p:spPr>
        <p:txBody>
          <a:bodyPr lIns="36000" tIns="45700" rIns="36000" bIns="45700" anchor="ctr" anchorCtr="0">
            <a:noAutofit/>
          </a:bodyPr>
          <a:lstStyle/>
          <a:p>
            <a:pPr lvl="0" algn="ctr">
              <a:buSzPct val="25000"/>
            </a:pPr>
            <a:endParaRPr lang="id-ID" sz="2000" b="1">
              <a:solidFill>
                <a:srgbClr val="FFFFFF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cxnSp>
        <p:nvCxnSpPr>
          <p:cNvPr id="86" name="Shape 281">
            <a:extLst>
              <a:ext uri="{FF2B5EF4-FFF2-40B4-BE49-F238E27FC236}">
                <a16:creationId xmlns:a16="http://schemas.microsoft.com/office/drawing/2014/main" id="{DB2E4424-F990-4A71-9C98-890928B28806}"/>
              </a:ext>
            </a:extLst>
          </p:cNvPr>
          <p:cNvCxnSpPr>
            <a:cxnSpLocks/>
            <a:endCxn id="87" idx="2"/>
          </p:cNvCxnSpPr>
          <p:nvPr/>
        </p:nvCxnSpPr>
        <p:spPr>
          <a:xfrm>
            <a:off x="7618884" y="4292137"/>
            <a:ext cx="794491" cy="336562"/>
          </a:xfrm>
          <a:prstGeom prst="straightConnector1">
            <a:avLst/>
          </a:prstGeom>
          <a:noFill/>
          <a:ln w="57150" cap="flat" cmpd="sng">
            <a:solidFill>
              <a:srgbClr val="01BF7D"/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87" name="Shape 303">
            <a:extLst>
              <a:ext uri="{FF2B5EF4-FFF2-40B4-BE49-F238E27FC236}">
                <a16:creationId xmlns:a16="http://schemas.microsoft.com/office/drawing/2014/main" id="{D6343906-D29C-4382-9CBF-EB30067B1EC9}"/>
              </a:ext>
            </a:extLst>
          </p:cNvPr>
          <p:cNvSpPr/>
          <p:nvPr/>
        </p:nvSpPr>
        <p:spPr>
          <a:xfrm>
            <a:off x="8413375" y="4348689"/>
            <a:ext cx="565705" cy="560020"/>
          </a:xfrm>
          <a:prstGeom prst="ellipse">
            <a:avLst/>
          </a:prstGeom>
          <a:solidFill>
            <a:srgbClr val="01BF7D"/>
          </a:solidFill>
          <a:ln>
            <a:noFill/>
          </a:ln>
        </p:spPr>
        <p:txBody>
          <a:bodyPr lIns="36000" tIns="45700" rIns="36000" bIns="45700" anchor="ctr" anchorCtr="0">
            <a:noAutofit/>
          </a:bodyPr>
          <a:lstStyle/>
          <a:p>
            <a:pPr lvl="0" algn="ctr">
              <a:buSzPct val="25000"/>
            </a:pPr>
            <a:endParaRPr lang="id-ID" sz="2000" b="1">
              <a:solidFill>
                <a:srgbClr val="FFFFFF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cxnSp>
        <p:nvCxnSpPr>
          <p:cNvPr id="88" name="Shape 281">
            <a:extLst>
              <a:ext uri="{FF2B5EF4-FFF2-40B4-BE49-F238E27FC236}">
                <a16:creationId xmlns:a16="http://schemas.microsoft.com/office/drawing/2014/main" id="{ADF5B3AF-018F-4BCA-92DC-5B04D0A96F99}"/>
              </a:ext>
            </a:extLst>
          </p:cNvPr>
          <p:cNvCxnSpPr>
            <a:cxnSpLocks/>
            <a:endCxn id="92" idx="1"/>
          </p:cNvCxnSpPr>
          <p:nvPr/>
        </p:nvCxnSpPr>
        <p:spPr>
          <a:xfrm>
            <a:off x="6729348" y="4908709"/>
            <a:ext cx="689529" cy="921861"/>
          </a:xfrm>
          <a:prstGeom prst="straightConnector1">
            <a:avLst/>
          </a:prstGeom>
          <a:noFill/>
          <a:ln w="57150" cap="flat" cmpd="sng">
            <a:solidFill>
              <a:srgbClr val="01BF7D"/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92" name="Shape 303">
            <a:extLst>
              <a:ext uri="{FF2B5EF4-FFF2-40B4-BE49-F238E27FC236}">
                <a16:creationId xmlns:a16="http://schemas.microsoft.com/office/drawing/2014/main" id="{A3A1F6EB-9C44-4F4E-A216-96480F5C27D7}"/>
              </a:ext>
            </a:extLst>
          </p:cNvPr>
          <p:cNvSpPr/>
          <p:nvPr/>
        </p:nvSpPr>
        <p:spPr>
          <a:xfrm>
            <a:off x="7336031" y="5748557"/>
            <a:ext cx="565705" cy="560020"/>
          </a:xfrm>
          <a:prstGeom prst="ellipse">
            <a:avLst/>
          </a:prstGeom>
          <a:solidFill>
            <a:srgbClr val="01BF7D"/>
          </a:solidFill>
          <a:ln>
            <a:noFill/>
          </a:ln>
        </p:spPr>
        <p:txBody>
          <a:bodyPr lIns="36000" tIns="45700" rIns="36000" bIns="45700" anchor="ctr" anchorCtr="0">
            <a:noAutofit/>
          </a:bodyPr>
          <a:lstStyle/>
          <a:p>
            <a:pPr lvl="0" algn="ctr">
              <a:buSzPct val="25000"/>
            </a:pPr>
            <a:endParaRPr lang="id-ID" sz="2000" b="1">
              <a:solidFill>
                <a:srgbClr val="FFFFFF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pic>
        <p:nvPicPr>
          <p:cNvPr id="94" name="Graphique 93" descr="Utilisateurs">
            <a:extLst>
              <a:ext uri="{FF2B5EF4-FFF2-40B4-BE49-F238E27FC236}">
                <a16:creationId xmlns:a16="http://schemas.microsoft.com/office/drawing/2014/main" id="{C06F7E85-7A08-475A-BFE2-DDEB39A486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09648" y="1068062"/>
            <a:ext cx="510010" cy="510010"/>
          </a:xfrm>
          <a:prstGeom prst="rect">
            <a:avLst/>
          </a:prstGeom>
        </p:spPr>
      </p:pic>
      <p:pic>
        <p:nvPicPr>
          <p:cNvPr id="98" name="Image 97">
            <a:extLst>
              <a:ext uri="{FF2B5EF4-FFF2-40B4-BE49-F238E27FC236}">
                <a16:creationId xmlns:a16="http://schemas.microsoft.com/office/drawing/2014/main" id="{9512A088-8CBB-40F6-AEDA-F23BCE6B8C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7605" y="5826554"/>
            <a:ext cx="402555" cy="402555"/>
          </a:xfrm>
          <a:prstGeom prst="rect">
            <a:avLst/>
          </a:prstGeom>
        </p:spPr>
      </p:pic>
      <p:pic>
        <p:nvPicPr>
          <p:cNvPr id="100" name="Image 99">
            <a:extLst>
              <a:ext uri="{FF2B5EF4-FFF2-40B4-BE49-F238E27FC236}">
                <a16:creationId xmlns:a16="http://schemas.microsoft.com/office/drawing/2014/main" id="{1C2681B0-B447-496D-8E57-AB287B1A1E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1687" y="2567641"/>
            <a:ext cx="445475" cy="445475"/>
          </a:xfrm>
          <a:prstGeom prst="rect">
            <a:avLst/>
          </a:prstGeom>
        </p:spPr>
      </p:pic>
      <p:pic>
        <p:nvPicPr>
          <p:cNvPr id="102" name="Image 101">
            <a:extLst>
              <a:ext uri="{FF2B5EF4-FFF2-40B4-BE49-F238E27FC236}">
                <a16:creationId xmlns:a16="http://schemas.microsoft.com/office/drawing/2014/main" id="{BB7D6376-903A-44CC-85A6-939FAE42552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0147" y="4453241"/>
            <a:ext cx="347015" cy="347015"/>
          </a:xfrm>
          <a:prstGeom prst="rect">
            <a:avLst/>
          </a:prstGeom>
        </p:spPr>
      </p:pic>
      <p:sp>
        <p:nvSpPr>
          <p:cNvPr id="103" name="TextBox 23">
            <a:extLst>
              <a:ext uri="{FF2B5EF4-FFF2-40B4-BE49-F238E27FC236}">
                <a16:creationId xmlns:a16="http://schemas.microsoft.com/office/drawing/2014/main" id="{4533D8F7-0C18-40FB-86B4-D8438B7F264C}"/>
              </a:ext>
            </a:extLst>
          </p:cNvPr>
          <p:cNvSpPr txBox="1"/>
          <p:nvPr/>
        </p:nvSpPr>
        <p:spPr>
          <a:xfrm>
            <a:off x="7912326" y="930813"/>
            <a:ext cx="1064778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CITOYE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5ECBDDE-4E93-45AF-A931-4FCCC12AC391}"/>
              </a:ext>
            </a:extLst>
          </p:cNvPr>
          <p:cNvSpPr/>
          <p:nvPr/>
        </p:nvSpPr>
        <p:spPr>
          <a:xfrm>
            <a:off x="8075352" y="1231177"/>
            <a:ext cx="3795411" cy="660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957756">
              <a:lnSpc>
                <a:spcPct val="105000"/>
              </a:lnSpc>
              <a:spcAft>
                <a:spcPts val="600"/>
              </a:spcAft>
              <a:buClr>
                <a:schemeClr val="accent4"/>
              </a:buClr>
              <a:defRPr/>
            </a:pP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Réduire la dispersion des offres de mobilité sur les territoires en augmentant la multimodalité et la portée géographique</a:t>
            </a:r>
          </a:p>
        </p:txBody>
      </p:sp>
      <p:sp>
        <p:nvSpPr>
          <p:cNvPr id="105" name="TextBox 23">
            <a:extLst>
              <a:ext uri="{FF2B5EF4-FFF2-40B4-BE49-F238E27FC236}">
                <a16:creationId xmlns:a16="http://schemas.microsoft.com/office/drawing/2014/main" id="{377E567A-8B2C-4285-8AB0-85C008112B8F}"/>
              </a:ext>
            </a:extLst>
          </p:cNvPr>
          <p:cNvSpPr txBox="1"/>
          <p:nvPr/>
        </p:nvSpPr>
        <p:spPr>
          <a:xfrm>
            <a:off x="9017392" y="2461523"/>
            <a:ext cx="1064778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AOM</a:t>
            </a:r>
          </a:p>
        </p:txBody>
      </p:sp>
      <p:sp>
        <p:nvSpPr>
          <p:cNvPr id="106" name="TextBox 23">
            <a:extLst>
              <a:ext uri="{FF2B5EF4-FFF2-40B4-BE49-F238E27FC236}">
                <a16:creationId xmlns:a16="http://schemas.microsoft.com/office/drawing/2014/main" id="{38B64B26-442B-4F9D-A9D3-B320B2D81B56}"/>
              </a:ext>
            </a:extLst>
          </p:cNvPr>
          <p:cNvSpPr txBox="1"/>
          <p:nvPr/>
        </p:nvSpPr>
        <p:spPr>
          <a:xfrm>
            <a:off x="9002866" y="4265021"/>
            <a:ext cx="1064778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MSP</a:t>
            </a:r>
          </a:p>
        </p:txBody>
      </p:sp>
      <p:sp>
        <p:nvSpPr>
          <p:cNvPr id="107" name="TextBox 23">
            <a:extLst>
              <a:ext uri="{FF2B5EF4-FFF2-40B4-BE49-F238E27FC236}">
                <a16:creationId xmlns:a16="http://schemas.microsoft.com/office/drawing/2014/main" id="{52583225-AF6D-4208-AF8E-9AFD3A5E1E9D}"/>
              </a:ext>
            </a:extLst>
          </p:cNvPr>
          <p:cNvSpPr txBox="1"/>
          <p:nvPr/>
        </p:nvSpPr>
        <p:spPr>
          <a:xfrm>
            <a:off x="7983310" y="5604928"/>
            <a:ext cx="1064778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MAA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F58428E7-56E7-4608-A394-E62925D40523}"/>
              </a:ext>
            </a:extLst>
          </p:cNvPr>
          <p:cNvSpPr/>
          <p:nvPr/>
        </p:nvSpPr>
        <p:spPr>
          <a:xfrm>
            <a:off x="8957276" y="2743139"/>
            <a:ext cx="2865801" cy="11253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algn="just" defTabSz="957756">
              <a:lnSpc>
                <a:spcPct val="105000"/>
              </a:lnSpc>
              <a:spcAft>
                <a:spcPts val="600"/>
              </a:spcAft>
              <a:buClr>
                <a:srgbClr val="01BF7D"/>
              </a:buClr>
              <a:buFont typeface="Wingdings" panose="05000000000000000000" pitchFamily="2" charset="2"/>
              <a:buChar char="ü"/>
              <a:defRPr/>
            </a:pP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Changer les comportements grâce à une mobilité plus fluide</a:t>
            </a:r>
          </a:p>
          <a:p>
            <a:pPr marL="171450" lvl="1" indent="-171450" algn="just" defTabSz="957756">
              <a:lnSpc>
                <a:spcPct val="105000"/>
              </a:lnSpc>
              <a:spcAft>
                <a:spcPts val="600"/>
              </a:spcAft>
              <a:buClr>
                <a:srgbClr val="01BF7D"/>
              </a:buClr>
              <a:buFont typeface="Wingdings" panose="05000000000000000000" pitchFamily="2" charset="2"/>
              <a:buChar char="ü"/>
              <a:defRPr/>
            </a:pP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Permettre l’émergence de nouveaux acteurs engagés pour la transition énergétique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B15AA68-1E8C-48A4-94D5-A194C5243769}"/>
              </a:ext>
            </a:extLst>
          </p:cNvPr>
          <p:cNvSpPr/>
          <p:nvPr/>
        </p:nvSpPr>
        <p:spPr>
          <a:xfrm>
            <a:off x="8957275" y="4572329"/>
            <a:ext cx="2865801" cy="11253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algn="just" defTabSz="957756">
              <a:lnSpc>
                <a:spcPct val="105000"/>
              </a:lnSpc>
              <a:spcAft>
                <a:spcPts val="600"/>
              </a:spcAft>
              <a:buClr>
                <a:srgbClr val="01BF7D"/>
              </a:buClr>
              <a:buFont typeface="Wingdings" panose="05000000000000000000" pitchFamily="2" charset="2"/>
              <a:buChar char="ü"/>
              <a:defRPr/>
            </a:pP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Réduire la redondance et la complexité d’intégration à des plateformes de mobilité </a:t>
            </a:r>
          </a:p>
          <a:p>
            <a:pPr marL="171450" lvl="1" indent="-171450" algn="just" defTabSz="957756">
              <a:lnSpc>
                <a:spcPct val="105000"/>
              </a:lnSpc>
              <a:spcAft>
                <a:spcPts val="600"/>
              </a:spcAft>
              <a:buClr>
                <a:srgbClr val="01BF7D"/>
              </a:buClr>
              <a:buFont typeface="Wingdings" panose="05000000000000000000" pitchFamily="2" charset="2"/>
              <a:buChar char="ü"/>
              <a:defRPr/>
            </a:pP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Réduire les coûts d’interfaces pour les MSP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B605DCBF-14E3-475F-87B9-D4084C6D23D8}"/>
              </a:ext>
            </a:extLst>
          </p:cNvPr>
          <p:cNvSpPr/>
          <p:nvPr/>
        </p:nvSpPr>
        <p:spPr>
          <a:xfrm>
            <a:off x="7935557" y="5978262"/>
            <a:ext cx="3942766" cy="6606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1" algn="just" defTabSz="957756">
              <a:lnSpc>
                <a:spcPct val="105000"/>
              </a:lnSpc>
              <a:spcAft>
                <a:spcPts val="600"/>
              </a:spcAft>
              <a:buClr>
                <a:schemeClr val="accent4"/>
              </a:buClr>
              <a:defRPr/>
            </a:pP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Créer des synergies entre les </a:t>
            </a:r>
            <a:r>
              <a:rPr lang="fr-FR" sz="1200" err="1">
                <a:latin typeface="Arial" panose="020B0604020202020204" pitchFamily="34" charset="0"/>
                <a:cs typeface="Arial" panose="020B0604020202020204" pitchFamily="34" charset="0"/>
              </a:rPr>
              <a:t>MaaS</a:t>
            </a:r>
            <a:r>
              <a:rPr lang="fr-FR" sz="1200">
                <a:latin typeface="Arial" panose="020B0604020202020204" pitchFamily="34" charset="0"/>
                <a:cs typeface="Arial" panose="020B0604020202020204" pitchFamily="34" charset="0"/>
              </a:rPr>
              <a:t> et réduire les coûts de développement des interfaces spécifiques avec les MSP</a:t>
            </a:r>
          </a:p>
        </p:txBody>
      </p:sp>
      <p:pic>
        <p:nvPicPr>
          <p:cNvPr id="115" name="Graphique 114" descr="Mille">
            <a:extLst>
              <a:ext uri="{FF2B5EF4-FFF2-40B4-BE49-F238E27FC236}">
                <a16:creationId xmlns:a16="http://schemas.microsoft.com/office/drawing/2014/main" id="{E8568BC2-700C-4965-964A-86C7A586A4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0675" y="4698505"/>
            <a:ext cx="669052" cy="669052"/>
          </a:xfrm>
          <a:prstGeom prst="rect">
            <a:avLst/>
          </a:prstGeom>
        </p:spPr>
      </p:pic>
      <p:sp>
        <p:nvSpPr>
          <p:cNvPr id="116" name="Triangle isocèle 115">
            <a:extLst>
              <a:ext uri="{FF2B5EF4-FFF2-40B4-BE49-F238E27FC236}">
                <a16:creationId xmlns:a16="http://schemas.microsoft.com/office/drawing/2014/main" id="{79BE21A0-2577-44CF-9333-6943C926863F}"/>
              </a:ext>
            </a:extLst>
          </p:cNvPr>
          <p:cNvSpPr/>
          <p:nvPr/>
        </p:nvSpPr>
        <p:spPr>
          <a:xfrm rot="10800000">
            <a:off x="2282175" y="4158515"/>
            <a:ext cx="785801" cy="190174"/>
          </a:xfrm>
          <a:prstGeom prst="triangle">
            <a:avLst/>
          </a:prstGeom>
          <a:solidFill>
            <a:schemeClr val="bg1"/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spc="0" normalizeH="0" baseline="0">
              <a:ln>
                <a:noFill/>
              </a:ln>
              <a:effectLst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C1E5F4D-C0D9-47F2-BC1B-52B2C42A4F8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790517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2ADFF0-9F7B-450A-8691-4C7A6EB6E64D}"/>
              </a:ext>
            </a:extLst>
          </p:cNvPr>
          <p:cNvSpPr/>
          <p:nvPr/>
        </p:nvSpPr>
        <p:spPr>
          <a:xfrm>
            <a:off x="320635" y="1944586"/>
            <a:ext cx="2343476" cy="31618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Jost Medium"/>
              </a:rPr>
              <a:t>MaaS</a:t>
            </a: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1CF3BA4-E3D5-4D8F-8D23-FF23DF275645}"/>
              </a:ext>
            </a:extLst>
          </p:cNvPr>
          <p:cNvSpPr txBox="1"/>
          <p:nvPr/>
        </p:nvSpPr>
        <p:spPr>
          <a:xfrm>
            <a:off x="838200" y="1266940"/>
            <a:ext cx="4945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…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0408567A-8179-47A8-A23D-45FE8963AE55}"/>
              </a:ext>
            </a:extLst>
          </p:cNvPr>
          <p:cNvSpPr txBox="1">
            <a:spLocks/>
          </p:cNvSpPr>
          <p:nvPr/>
        </p:nvSpPr>
        <p:spPr>
          <a:xfrm>
            <a:off x="550200" y="231712"/>
            <a:ext cx="8935706" cy="90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lIns="0" tIns="180000" rIns="0" bIns="0" rtlCol="0" anchor="t">
            <a:noAutofit/>
          </a:bodyPr>
          <a:lstStyle>
            <a:lvl1pPr marL="0" marR="0" indent="0" algn="l" defTabSz="121916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 i="0" u="none" strike="noStrike" cap="none" spc="-40" baseline="0" dirty="0">
                <a:solidFill>
                  <a:srgbClr val="46496A"/>
                </a:solidFill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defRPr>
            </a:lvl1pPr>
            <a:lvl2pPr marL="0" marR="0" indent="228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2pPr>
            <a:lvl3pPr marL="0" marR="0" indent="457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3pPr>
            <a:lvl4pPr marL="0" marR="0" indent="685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4pPr>
            <a:lvl5pPr marL="0" marR="0" indent="9144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5pPr>
            <a:lvl6pPr marL="0" marR="0" indent="11430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6pPr>
            <a:lvl7pPr marL="0" marR="0" indent="1371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7pPr>
            <a:lvl8pPr marL="0" marR="0" indent="1600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8pPr>
            <a:lvl9pPr marL="0" marR="0" indent="1828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-40" normalizeH="0" baseline="0" noProof="0">
                <a:ln>
                  <a:noFill/>
                </a:ln>
                <a:solidFill>
                  <a:srgbClr val="46496A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rPr>
              <a:t>Modèle de donné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1E0953-8DBE-4864-B3C0-2CA7A6F236D1}"/>
              </a:ext>
            </a:extLst>
          </p:cNvPr>
          <p:cNvSpPr/>
          <p:nvPr/>
        </p:nvSpPr>
        <p:spPr>
          <a:xfrm>
            <a:off x="3317178" y="1973282"/>
            <a:ext cx="3467595" cy="31618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Jost Medium"/>
              </a:rPr>
              <a:t>Gateway</a:t>
            </a: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9818891-9214-40FD-8D43-1F46B930EDCE}"/>
              </a:ext>
            </a:extLst>
          </p:cNvPr>
          <p:cNvSpPr/>
          <p:nvPr/>
        </p:nvSpPr>
        <p:spPr>
          <a:xfrm>
            <a:off x="7469832" y="1973282"/>
            <a:ext cx="3467595" cy="31618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Jost Medium"/>
              </a:rPr>
              <a:t>MSPs</a:t>
            </a: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>
              <a:solidFill>
                <a:prstClr val="black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217A3D1-7B70-48E8-9D6C-C5BD6234BE89}"/>
              </a:ext>
            </a:extLst>
          </p:cNvPr>
          <p:cNvSpPr/>
          <p:nvPr/>
        </p:nvSpPr>
        <p:spPr>
          <a:xfrm>
            <a:off x="7862498" y="2322614"/>
            <a:ext cx="1910939" cy="528947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utopartag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1C092B-C221-4944-A776-B63E8CA3D981}"/>
              </a:ext>
            </a:extLst>
          </p:cNvPr>
          <p:cNvSpPr/>
          <p:nvPr/>
        </p:nvSpPr>
        <p:spPr>
          <a:xfrm>
            <a:off x="7862498" y="3025238"/>
            <a:ext cx="1910939" cy="528947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voitur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34C3B4-9FC5-49DA-BB8D-95ADF27A49F2}"/>
              </a:ext>
            </a:extLst>
          </p:cNvPr>
          <p:cNvSpPr/>
          <p:nvPr/>
        </p:nvSpPr>
        <p:spPr>
          <a:xfrm>
            <a:off x="7862498" y="4430485"/>
            <a:ext cx="1910939" cy="528947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A259A11-5330-43F3-B485-B73E6700B741}"/>
              </a:ext>
            </a:extLst>
          </p:cNvPr>
          <p:cNvSpPr/>
          <p:nvPr/>
        </p:nvSpPr>
        <p:spPr>
          <a:xfrm>
            <a:off x="7862498" y="3727861"/>
            <a:ext cx="1910939" cy="528947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tationnement</a:t>
            </a:r>
          </a:p>
        </p:txBody>
      </p:sp>
      <p:sp>
        <p:nvSpPr>
          <p:cNvPr id="25" name="Rectangle : avec coins arrondis en diagonale 24">
            <a:extLst>
              <a:ext uri="{FF2B5EF4-FFF2-40B4-BE49-F238E27FC236}">
                <a16:creationId xmlns:a16="http://schemas.microsoft.com/office/drawing/2014/main" id="{42ADB8ED-CACC-4DAD-8716-CEF8943EA681}"/>
              </a:ext>
            </a:extLst>
          </p:cNvPr>
          <p:cNvSpPr/>
          <p:nvPr/>
        </p:nvSpPr>
        <p:spPr>
          <a:xfrm>
            <a:off x="2248684" y="2710352"/>
            <a:ext cx="380010" cy="1501733"/>
          </a:xfrm>
          <a:prstGeom prst="round2DiagRect">
            <a:avLst/>
          </a:prstGeom>
          <a:solidFill>
            <a:srgbClr val="0F999C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fr-FR" sz="1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aptateurs</a:t>
            </a:r>
          </a:p>
        </p:txBody>
      </p:sp>
      <p:sp>
        <p:nvSpPr>
          <p:cNvPr id="26" name="Rectangle : avec coins arrondis en diagonale 25">
            <a:extLst>
              <a:ext uri="{FF2B5EF4-FFF2-40B4-BE49-F238E27FC236}">
                <a16:creationId xmlns:a16="http://schemas.microsoft.com/office/drawing/2014/main" id="{CD83E389-5DDE-4C6F-8E03-3B7769036974}"/>
              </a:ext>
            </a:extLst>
          </p:cNvPr>
          <p:cNvSpPr/>
          <p:nvPr/>
        </p:nvSpPr>
        <p:spPr>
          <a:xfrm>
            <a:off x="6388435" y="2774619"/>
            <a:ext cx="380010" cy="1501733"/>
          </a:xfrm>
          <a:prstGeom prst="round2DiagRect">
            <a:avLst/>
          </a:prstGeom>
          <a:solidFill>
            <a:srgbClr val="12ABDB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daptateurs</a:t>
            </a:r>
            <a:endParaRPr lang="fr-FR"/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C98D5962-A3A4-4FEA-9652-B9DD3A1D581D}"/>
              </a:ext>
            </a:extLst>
          </p:cNvPr>
          <p:cNvSpPr/>
          <p:nvPr/>
        </p:nvSpPr>
        <p:spPr>
          <a:xfrm>
            <a:off x="4465452" y="2502134"/>
            <a:ext cx="993570" cy="505882"/>
          </a:xfrm>
          <a:prstGeom prst="roundRect">
            <a:avLst/>
          </a:prstGeom>
          <a:solidFill>
            <a:srgbClr val="12ABD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>
                <a:latin typeface="Verdana" panose="020B0604030504040204" pitchFamily="34" charset="0"/>
                <a:ea typeface="Verdana" panose="020B0604030504040204" pitchFamily="34" charset="0"/>
              </a:rPr>
              <a:t>MSP</a:t>
            </a:r>
            <a:endParaRPr lang="fr-FR" sz="11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32239A94-A2E9-4841-A8AE-5224F7C7F51C}"/>
              </a:ext>
            </a:extLst>
          </p:cNvPr>
          <p:cNvSpPr/>
          <p:nvPr/>
        </p:nvSpPr>
        <p:spPr>
          <a:xfrm>
            <a:off x="3505452" y="3461219"/>
            <a:ext cx="993570" cy="505882"/>
          </a:xfrm>
          <a:prstGeom prst="roundRect">
            <a:avLst/>
          </a:prstGeom>
          <a:gradFill flip="none" rotWithShape="1">
            <a:gsLst>
              <a:gs pos="2000">
                <a:schemeClr val="accent5">
                  <a:lumMod val="0"/>
                  <a:lumOff val="100000"/>
                </a:schemeClr>
              </a:gs>
              <a:gs pos="27000">
                <a:schemeClr val="accent1">
                  <a:lumMod val="60000"/>
                  <a:lumOff val="40000"/>
                  <a:alpha val="0"/>
                </a:schemeClr>
              </a:gs>
              <a:gs pos="40000">
                <a:srgbClr val="12ABDB"/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latin typeface="Verdana" panose="020B0604030504040204" pitchFamily="34" charset="0"/>
                <a:ea typeface="Verdana" panose="020B0604030504040204" pitchFamily="34" charset="0"/>
              </a:rPr>
              <a:t>IV / RI</a:t>
            </a:r>
          </a:p>
        </p:txBody>
      </p:sp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B371A266-926B-477E-BA9F-58C87057AEF0}"/>
              </a:ext>
            </a:extLst>
          </p:cNvPr>
          <p:cNvSpPr/>
          <p:nvPr/>
        </p:nvSpPr>
        <p:spPr>
          <a:xfrm>
            <a:off x="4303404" y="4430485"/>
            <a:ext cx="1317666" cy="505882"/>
          </a:xfrm>
          <a:prstGeom prst="roundRect">
            <a:avLst/>
          </a:prstGeom>
          <a:solidFill>
            <a:srgbClr val="12ABD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>
                <a:latin typeface="Verdana" panose="020B0604030504040204" pitchFamily="34" charset="0"/>
                <a:ea typeface="Verdana" panose="020B0604030504040204" pitchFamily="34" charset="0"/>
              </a:rPr>
              <a:t>Réservation / Usage</a:t>
            </a: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7D7FF3D9-8EA4-42F0-BF6F-D92D77B0308D}"/>
              </a:ext>
            </a:extLst>
          </p:cNvPr>
          <p:cNvCxnSpPr>
            <a:cxnSpLocks/>
            <a:stCxn id="30" idx="3"/>
          </p:cNvCxnSpPr>
          <p:nvPr/>
        </p:nvCxnSpPr>
        <p:spPr>
          <a:xfrm flipV="1">
            <a:off x="5621070" y="3967101"/>
            <a:ext cx="244603" cy="7163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4950B14E-4C11-4B75-9953-26C72865B06F}"/>
              </a:ext>
            </a:extLst>
          </p:cNvPr>
          <p:cNvCxnSpPr>
            <a:cxnSpLocks/>
            <a:stCxn id="30" idx="1"/>
            <a:endCxn id="28" idx="2"/>
          </p:cNvCxnSpPr>
          <p:nvPr/>
        </p:nvCxnSpPr>
        <p:spPr>
          <a:xfrm flipH="1" flipV="1">
            <a:off x="4002237" y="3967101"/>
            <a:ext cx="301167" cy="7163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034FA480-A7BC-4D19-AA86-995BA5F1DA61}"/>
              </a:ext>
            </a:extLst>
          </p:cNvPr>
          <p:cNvCxnSpPr>
            <a:cxnSpLocks/>
            <a:stCxn id="27" idx="1"/>
            <a:endCxn id="28" idx="0"/>
          </p:cNvCxnSpPr>
          <p:nvPr/>
        </p:nvCxnSpPr>
        <p:spPr>
          <a:xfrm flipH="1">
            <a:off x="4002237" y="2755075"/>
            <a:ext cx="463215" cy="7061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C5A93C59-ABE9-4629-9891-4B3C4EF7C28A}"/>
              </a:ext>
            </a:extLst>
          </p:cNvPr>
          <p:cNvCxnSpPr>
            <a:cxnSpLocks/>
            <a:endCxn id="27" idx="3"/>
          </p:cNvCxnSpPr>
          <p:nvPr/>
        </p:nvCxnSpPr>
        <p:spPr>
          <a:xfrm flipH="1" flipV="1">
            <a:off x="5459022" y="2755075"/>
            <a:ext cx="406651" cy="7061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76DEDA3F-E020-4ECC-B0B8-6B3EF1D4568F}"/>
              </a:ext>
            </a:extLst>
          </p:cNvPr>
          <p:cNvCxnSpPr>
            <a:cxnSpLocks/>
            <a:endCxn id="28" idx="3"/>
          </p:cNvCxnSpPr>
          <p:nvPr/>
        </p:nvCxnSpPr>
        <p:spPr>
          <a:xfrm flipH="1">
            <a:off x="4499022" y="3714160"/>
            <a:ext cx="8698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93E1451A-9D41-49B2-B333-3D83553EC516}"/>
              </a:ext>
            </a:extLst>
          </p:cNvPr>
          <p:cNvCxnSpPr>
            <a:cxnSpLocks/>
          </p:cNvCxnSpPr>
          <p:nvPr/>
        </p:nvCxnSpPr>
        <p:spPr>
          <a:xfrm flipV="1">
            <a:off x="4890319" y="3008016"/>
            <a:ext cx="0" cy="14224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eur droit 57">
            <a:extLst>
              <a:ext uri="{FF2B5EF4-FFF2-40B4-BE49-F238E27FC236}">
                <a16:creationId xmlns:a16="http://schemas.microsoft.com/office/drawing/2014/main" id="{20B4A402-BA26-49F2-947C-33B1CBFA6ABB}"/>
              </a:ext>
            </a:extLst>
          </p:cNvPr>
          <p:cNvCxnSpPr>
            <a:cxnSpLocks/>
            <a:stCxn id="20" idx="1"/>
            <a:endCxn id="26" idx="0"/>
          </p:cNvCxnSpPr>
          <p:nvPr/>
        </p:nvCxnSpPr>
        <p:spPr>
          <a:xfrm flipH="1">
            <a:off x="6768445" y="2587088"/>
            <a:ext cx="1094053" cy="9383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61">
            <a:extLst>
              <a:ext uri="{FF2B5EF4-FFF2-40B4-BE49-F238E27FC236}">
                <a16:creationId xmlns:a16="http://schemas.microsoft.com/office/drawing/2014/main" id="{AA5E640A-1A7F-4FC7-9D54-40F0E407A37A}"/>
              </a:ext>
            </a:extLst>
          </p:cNvPr>
          <p:cNvCxnSpPr>
            <a:cxnSpLocks/>
            <a:stCxn id="21" idx="1"/>
            <a:endCxn id="26" idx="0"/>
          </p:cNvCxnSpPr>
          <p:nvPr/>
        </p:nvCxnSpPr>
        <p:spPr>
          <a:xfrm flipH="1">
            <a:off x="6768445" y="3289712"/>
            <a:ext cx="1094053" cy="2357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droit 65">
            <a:extLst>
              <a:ext uri="{FF2B5EF4-FFF2-40B4-BE49-F238E27FC236}">
                <a16:creationId xmlns:a16="http://schemas.microsoft.com/office/drawing/2014/main" id="{AD7C08A9-86EA-4BD4-915F-F0603DDE05C7}"/>
              </a:ext>
            </a:extLst>
          </p:cNvPr>
          <p:cNvCxnSpPr>
            <a:cxnSpLocks/>
            <a:stCxn id="23" idx="1"/>
            <a:endCxn id="26" idx="0"/>
          </p:cNvCxnSpPr>
          <p:nvPr/>
        </p:nvCxnSpPr>
        <p:spPr>
          <a:xfrm flipH="1" flipV="1">
            <a:off x="6768445" y="3525486"/>
            <a:ext cx="1094053" cy="4668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68">
            <a:extLst>
              <a:ext uri="{FF2B5EF4-FFF2-40B4-BE49-F238E27FC236}">
                <a16:creationId xmlns:a16="http://schemas.microsoft.com/office/drawing/2014/main" id="{47E4877C-087B-400F-9EF1-1586EFA3A590}"/>
              </a:ext>
            </a:extLst>
          </p:cNvPr>
          <p:cNvCxnSpPr>
            <a:cxnSpLocks/>
            <a:stCxn id="22" idx="1"/>
            <a:endCxn id="26" idx="0"/>
          </p:cNvCxnSpPr>
          <p:nvPr/>
        </p:nvCxnSpPr>
        <p:spPr>
          <a:xfrm flipH="1" flipV="1">
            <a:off x="6768445" y="3525486"/>
            <a:ext cx="1094053" cy="11694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171D088D-FE15-4FBE-AAD3-8CB1B4300394}"/>
              </a:ext>
            </a:extLst>
          </p:cNvPr>
          <p:cNvSpPr/>
          <p:nvPr/>
        </p:nvSpPr>
        <p:spPr>
          <a:xfrm>
            <a:off x="11093393" y="2830409"/>
            <a:ext cx="939141" cy="528947"/>
          </a:xfrm>
          <a:prstGeom prst="rect">
            <a:avLst/>
          </a:prstGeom>
          <a:solidFill>
            <a:srgbClr val="D13A8C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/ Usage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EFA79BE-F024-4905-A321-9BBC2891FB14}"/>
              </a:ext>
            </a:extLst>
          </p:cNvPr>
          <p:cNvSpPr/>
          <p:nvPr/>
        </p:nvSpPr>
        <p:spPr>
          <a:xfrm>
            <a:off x="11066281" y="1966136"/>
            <a:ext cx="939141" cy="528947"/>
          </a:xfrm>
          <a:prstGeom prst="rect">
            <a:avLst/>
          </a:prstGeom>
          <a:solidFill>
            <a:srgbClr val="D13A8C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21E4BE3D-013F-4E4F-A7B8-D972A6BFD727}"/>
              </a:ext>
            </a:extLst>
          </p:cNvPr>
          <p:cNvSpPr/>
          <p:nvPr/>
        </p:nvSpPr>
        <p:spPr>
          <a:xfrm>
            <a:off x="11089433" y="3686575"/>
            <a:ext cx="939141" cy="528947"/>
          </a:xfrm>
          <a:prstGeom prst="rect">
            <a:avLst/>
          </a:prstGeom>
          <a:solidFill>
            <a:srgbClr val="D13A8C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uivi conso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AFF5BD1-C7DC-45D6-8516-A01D9FB237F9}"/>
              </a:ext>
            </a:extLst>
          </p:cNvPr>
          <p:cNvSpPr/>
          <p:nvPr/>
        </p:nvSpPr>
        <p:spPr>
          <a:xfrm>
            <a:off x="11066281" y="4563932"/>
            <a:ext cx="939141" cy="528947"/>
          </a:xfrm>
          <a:prstGeom prst="rect">
            <a:avLst/>
          </a:prstGeom>
          <a:solidFill>
            <a:srgbClr val="D13A8C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ccès facture</a:t>
            </a:r>
          </a:p>
        </p:txBody>
      </p: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D60405F3-C52D-4ADB-8212-CCCB1313D0E6}"/>
              </a:ext>
            </a:extLst>
          </p:cNvPr>
          <p:cNvCxnSpPr>
            <a:cxnSpLocks/>
            <a:stCxn id="73" idx="1"/>
            <a:endCxn id="20" idx="3"/>
          </p:cNvCxnSpPr>
          <p:nvPr/>
        </p:nvCxnSpPr>
        <p:spPr>
          <a:xfrm flipH="1">
            <a:off x="9773437" y="2230610"/>
            <a:ext cx="1292844" cy="356478"/>
          </a:xfrm>
          <a:prstGeom prst="line">
            <a:avLst/>
          </a:prstGeom>
          <a:ln>
            <a:solidFill>
              <a:srgbClr val="57CF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eur droit 78">
            <a:extLst>
              <a:ext uri="{FF2B5EF4-FFF2-40B4-BE49-F238E27FC236}">
                <a16:creationId xmlns:a16="http://schemas.microsoft.com/office/drawing/2014/main" id="{B1E0C782-1DC2-4CB0-A43D-FBEB4CC7A7CC}"/>
              </a:ext>
            </a:extLst>
          </p:cNvPr>
          <p:cNvCxnSpPr>
            <a:cxnSpLocks/>
            <a:stCxn id="72" idx="1"/>
            <a:endCxn id="20" idx="3"/>
          </p:cNvCxnSpPr>
          <p:nvPr/>
        </p:nvCxnSpPr>
        <p:spPr>
          <a:xfrm flipH="1" flipV="1">
            <a:off x="9773437" y="2587088"/>
            <a:ext cx="1319956" cy="507795"/>
          </a:xfrm>
          <a:prstGeom prst="line">
            <a:avLst/>
          </a:prstGeom>
          <a:ln>
            <a:solidFill>
              <a:srgbClr val="57CF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droit 81">
            <a:extLst>
              <a:ext uri="{FF2B5EF4-FFF2-40B4-BE49-F238E27FC236}">
                <a16:creationId xmlns:a16="http://schemas.microsoft.com/office/drawing/2014/main" id="{3218752B-AEEC-424E-B955-1926FFA69751}"/>
              </a:ext>
            </a:extLst>
          </p:cNvPr>
          <p:cNvCxnSpPr>
            <a:cxnSpLocks/>
            <a:stCxn id="74" idx="1"/>
            <a:endCxn id="20" idx="3"/>
          </p:cNvCxnSpPr>
          <p:nvPr/>
        </p:nvCxnSpPr>
        <p:spPr>
          <a:xfrm flipH="1" flipV="1">
            <a:off x="9773437" y="2587088"/>
            <a:ext cx="1315996" cy="1363961"/>
          </a:xfrm>
          <a:prstGeom prst="line">
            <a:avLst/>
          </a:prstGeom>
          <a:ln>
            <a:solidFill>
              <a:srgbClr val="57CF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droit 84">
            <a:extLst>
              <a:ext uri="{FF2B5EF4-FFF2-40B4-BE49-F238E27FC236}">
                <a16:creationId xmlns:a16="http://schemas.microsoft.com/office/drawing/2014/main" id="{D9CA27FD-0E94-4031-80BA-DE0B77F935E6}"/>
              </a:ext>
            </a:extLst>
          </p:cNvPr>
          <p:cNvCxnSpPr>
            <a:cxnSpLocks/>
            <a:stCxn id="75" idx="1"/>
            <a:endCxn id="20" idx="3"/>
          </p:cNvCxnSpPr>
          <p:nvPr/>
        </p:nvCxnSpPr>
        <p:spPr>
          <a:xfrm flipH="1" flipV="1">
            <a:off x="9773437" y="2587088"/>
            <a:ext cx="1292844" cy="2241318"/>
          </a:xfrm>
          <a:prstGeom prst="line">
            <a:avLst/>
          </a:prstGeom>
          <a:ln>
            <a:solidFill>
              <a:srgbClr val="57CF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88">
            <a:extLst>
              <a:ext uri="{FF2B5EF4-FFF2-40B4-BE49-F238E27FC236}">
                <a16:creationId xmlns:a16="http://schemas.microsoft.com/office/drawing/2014/main" id="{CD85BC64-DD85-4E0F-AC9D-191A4F9E1C8D}"/>
              </a:ext>
            </a:extLst>
          </p:cNvPr>
          <p:cNvCxnSpPr>
            <a:cxnSpLocks/>
            <a:stCxn id="73" idx="1"/>
            <a:endCxn id="21" idx="3"/>
          </p:cNvCxnSpPr>
          <p:nvPr/>
        </p:nvCxnSpPr>
        <p:spPr>
          <a:xfrm flipH="1">
            <a:off x="9773437" y="2230610"/>
            <a:ext cx="1292844" cy="1059102"/>
          </a:xfrm>
          <a:prstGeom prst="line">
            <a:avLst/>
          </a:prstGeom>
          <a:ln>
            <a:solidFill>
              <a:srgbClr val="FFB2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91">
            <a:extLst>
              <a:ext uri="{FF2B5EF4-FFF2-40B4-BE49-F238E27FC236}">
                <a16:creationId xmlns:a16="http://schemas.microsoft.com/office/drawing/2014/main" id="{D2669A71-EF28-4AF0-A835-5B0CF6173E75}"/>
              </a:ext>
            </a:extLst>
          </p:cNvPr>
          <p:cNvCxnSpPr>
            <a:cxnSpLocks/>
            <a:stCxn id="72" idx="1"/>
            <a:endCxn id="21" idx="3"/>
          </p:cNvCxnSpPr>
          <p:nvPr/>
        </p:nvCxnSpPr>
        <p:spPr>
          <a:xfrm flipH="1">
            <a:off x="9773437" y="3094883"/>
            <a:ext cx="1319956" cy="194829"/>
          </a:xfrm>
          <a:prstGeom prst="line">
            <a:avLst/>
          </a:prstGeom>
          <a:ln>
            <a:solidFill>
              <a:srgbClr val="FFB2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eur droit 95">
            <a:extLst>
              <a:ext uri="{FF2B5EF4-FFF2-40B4-BE49-F238E27FC236}">
                <a16:creationId xmlns:a16="http://schemas.microsoft.com/office/drawing/2014/main" id="{C54DC467-86CD-46E2-B88D-12BCE3FF5726}"/>
              </a:ext>
            </a:extLst>
          </p:cNvPr>
          <p:cNvCxnSpPr>
            <a:cxnSpLocks/>
            <a:stCxn id="74" idx="1"/>
            <a:endCxn id="21" idx="3"/>
          </p:cNvCxnSpPr>
          <p:nvPr/>
        </p:nvCxnSpPr>
        <p:spPr>
          <a:xfrm flipH="1" flipV="1">
            <a:off x="9773437" y="3289712"/>
            <a:ext cx="1315996" cy="661337"/>
          </a:xfrm>
          <a:prstGeom prst="line">
            <a:avLst/>
          </a:prstGeom>
          <a:ln>
            <a:solidFill>
              <a:srgbClr val="FFB2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eur droit 98">
            <a:extLst>
              <a:ext uri="{FF2B5EF4-FFF2-40B4-BE49-F238E27FC236}">
                <a16:creationId xmlns:a16="http://schemas.microsoft.com/office/drawing/2014/main" id="{8F023D0F-BCE8-48FE-A3EB-188D0FC9E53C}"/>
              </a:ext>
            </a:extLst>
          </p:cNvPr>
          <p:cNvCxnSpPr>
            <a:cxnSpLocks/>
            <a:stCxn id="75" idx="1"/>
            <a:endCxn id="21" idx="3"/>
          </p:cNvCxnSpPr>
          <p:nvPr/>
        </p:nvCxnSpPr>
        <p:spPr>
          <a:xfrm flipH="1" flipV="1">
            <a:off x="9773437" y="3289712"/>
            <a:ext cx="1292844" cy="1538694"/>
          </a:xfrm>
          <a:prstGeom prst="line">
            <a:avLst/>
          </a:prstGeom>
          <a:ln>
            <a:solidFill>
              <a:srgbClr val="FFB2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necteur droit 113">
            <a:extLst>
              <a:ext uri="{FF2B5EF4-FFF2-40B4-BE49-F238E27FC236}">
                <a16:creationId xmlns:a16="http://schemas.microsoft.com/office/drawing/2014/main" id="{1E984A69-369A-4BDC-B2F5-B4A1F2F45905}"/>
              </a:ext>
            </a:extLst>
          </p:cNvPr>
          <p:cNvCxnSpPr>
            <a:cxnSpLocks/>
            <a:stCxn id="73" idx="1"/>
            <a:endCxn id="23" idx="3"/>
          </p:cNvCxnSpPr>
          <p:nvPr/>
        </p:nvCxnSpPr>
        <p:spPr>
          <a:xfrm flipH="1">
            <a:off x="9773437" y="2230610"/>
            <a:ext cx="1292844" cy="1761725"/>
          </a:xfrm>
          <a:prstGeom prst="line">
            <a:avLst/>
          </a:prstGeom>
          <a:ln>
            <a:solidFill>
              <a:srgbClr val="0F87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CF25C236-5171-4437-A47C-B636D6AED99B}"/>
              </a:ext>
            </a:extLst>
          </p:cNvPr>
          <p:cNvCxnSpPr>
            <a:cxnSpLocks/>
            <a:stCxn id="72" idx="1"/>
            <a:endCxn id="23" idx="3"/>
          </p:cNvCxnSpPr>
          <p:nvPr/>
        </p:nvCxnSpPr>
        <p:spPr>
          <a:xfrm flipH="1">
            <a:off x="9773437" y="3094883"/>
            <a:ext cx="1319956" cy="897452"/>
          </a:xfrm>
          <a:prstGeom prst="line">
            <a:avLst/>
          </a:prstGeom>
          <a:ln>
            <a:solidFill>
              <a:srgbClr val="0F87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cteur droit 119">
            <a:extLst>
              <a:ext uri="{FF2B5EF4-FFF2-40B4-BE49-F238E27FC236}">
                <a16:creationId xmlns:a16="http://schemas.microsoft.com/office/drawing/2014/main" id="{779D58C2-920A-471E-A71F-13AA564CD1C5}"/>
              </a:ext>
            </a:extLst>
          </p:cNvPr>
          <p:cNvCxnSpPr>
            <a:cxnSpLocks/>
            <a:stCxn id="74" idx="1"/>
            <a:endCxn id="23" idx="3"/>
          </p:cNvCxnSpPr>
          <p:nvPr/>
        </p:nvCxnSpPr>
        <p:spPr>
          <a:xfrm flipH="1">
            <a:off x="9773437" y="3951049"/>
            <a:ext cx="1315996" cy="41286"/>
          </a:xfrm>
          <a:prstGeom prst="line">
            <a:avLst/>
          </a:prstGeom>
          <a:ln>
            <a:solidFill>
              <a:srgbClr val="0F87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necteur droit 122">
            <a:extLst>
              <a:ext uri="{FF2B5EF4-FFF2-40B4-BE49-F238E27FC236}">
                <a16:creationId xmlns:a16="http://schemas.microsoft.com/office/drawing/2014/main" id="{3AD1F15F-F0E7-465D-9511-8CBE7744852B}"/>
              </a:ext>
            </a:extLst>
          </p:cNvPr>
          <p:cNvCxnSpPr>
            <a:cxnSpLocks/>
            <a:stCxn id="75" idx="1"/>
            <a:endCxn id="23" idx="3"/>
          </p:cNvCxnSpPr>
          <p:nvPr/>
        </p:nvCxnSpPr>
        <p:spPr>
          <a:xfrm flipH="1" flipV="1">
            <a:off x="9773437" y="3992335"/>
            <a:ext cx="1292844" cy="836071"/>
          </a:xfrm>
          <a:prstGeom prst="line">
            <a:avLst/>
          </a:prstGeom>
          <a:ln>
            <a:solidFill>
              <a:srgbClr val="0F87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necteur droit 125">
            <a:extLst>
              <a:ext uri="{FF2B5EF4-FFF2-40B4-BE49-F238E27FC236}">
                <a16:creationId xmlns:a16="http://schemas.microsoft.com/office/drawing/2014/main" id="{E167DBC5-8E08-4B2D-841F-FA3ADA424EC9}"/>
              </a:ext>
            </a:extLst>
          </p:cNvPr>
          <p:cNvCxnSpPr>
            <a:cxnSpLocks/>
            <a:stCxn id="75" idx="1"/>
            <a:endCxn id="22" idx="3"/>
          </p:cNvCxnSpPr>
          <p:nvPr/>
        </p:nvCxnSpPr>
        <p:spPr>
          <a:xfrm flipH="1" flipV="1">
            <a:off x="9773437" y="4694959"/>
            <a:ext cx="1292844" cy="133447"/>
          </a:xfrm>
          <a:prstGeom prst="line">
            <a:avLst/>
          </a:prstGeom>
          <a:ln>
            <a:solidFill>
              <a:srgbClr val="421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eur droit 128">
            <a:extLst>
              <a:ext uri="{FF2B5EF4-FFF2-40B4-BE49-F238E27FC236}">
                <a16:creationId xmlns:a16="http://schemas.microsoft.com/office/drawing/2014/main" id="{354AE66F-1738-4CB6-B246-AB37D08371E5}"/>
              </a:ext>
            </a:extLst>
          </p:cNvPr>
          <p:cNvCxnSpPr>
            <a:cxnSpLocks/>
            <a:stCxn id="74" idx="1"/>
            <a:endCxn id="22" idx="3"/>
          </p:cNvCxnSpPr>
          <p:nvPr/>
        </p:nvCxnSpPr>
        <p:spPr>
          <a:xfrm flipH="1">
            <a:off x="9773437" y="3951049"/>
            <a:ext cx="1315996" cy="743910"/>
          </a:xfrm>
          <a:prstGeom prst="line">
            <a:avLst/>
          </a:prstGeom>
          <a:ln>
            <a:solidFill>
              <a:srgbClr val="421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Connecteur droit 131">
            <a:extLst>
              <a:ext uri="{FF2B5EF4-FFF2-40B4-BE49-F238E27FC236}">
                <a16:creationId xmlns:a16="http://schemas.microsoft.com/office/drawing/2014/main" id="{81F7D76E-2E7A-4110-8C96-0BEA15055D45}"/>
              </a:ext>
            </a:extLst>
          </p:cNvPr>
          <p:cNvCxnSpPr>
            <a:cxnSpLocks/>
            <a:stCxn id="72" idx="1"/>
            <a:endCxn id="22" idx="3"/>
          </p:cNvCxnSpPr>
          <p:nvPr/>
        </p:nvCxnSpPr>
        <p:spPr>
          <a:xfrm flipH="1">
            <a:off x="9773437" y="3094883"/>
            <a:ext cx="1319956" cy="1600076"/>
          </a:xfrm>
          <a:prstGeom prst="line">
            <a:avLst/>
          </a:prstGeom>
          <a:ln>
            <a:solidFill>
              <a:srgbClr val="421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necteur droit 134">
            <a:extLst>
              <a:ext uri="{FF2B5EF4-FFF2-40B4-BE49-F238E27FC236}">
                <a16:creationId xmlns:a16="http://schemas.microsoft.com/office/drawing/2014/main" id="{C219F2FE-1EE5-4FF0-B522-9678F831A6AD}"/>
              </a:ext>
            </a:extLst>
          </p:cNvPr>
          <p:cNvCxnSpPr>
            <a:cxnSpLocks/>
            <a:stCxn id="73" idx="1"/>
            <a:endCxn id="22" idx="3"/>
          </p:cNvCxnSpPr>
          <p:nvPr/>
        </p:nvCxnSpPr>
        <p:spPr>
          <a:xfrm flipH="1">
            <a:off x="9773437" y="2230610"/>
            <a:ext cx="1292844" cy="2464349"/>
          </a:xfrm>
          <a:prstGeom prst="line">
            <a:avLst/>
          </a:prstGeom>
          <a:ln>
            <a:solidFill>
              <a:srgbClr val="421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 : coins arrondis 160">
            <a:extLst>
              <a:ext uri="{FF2B5EF4-FFF2-40B4-BE49-F238E27FC236}">
                <a16:creationId xmlns:a16="http://schemas.microsoft.com/office/drawing/2014/main" id="{6647A5BA-7490-419D-B34C-46657479527D}"/>
              </a:ext>
            </a:extLst>
          </p:cNvPr>
          <p:cNvSpPr/>
          <p:nvPr/>
        </p:nvSpPr>
        <p:spPr>
          <a:xfrm>
            <a:off x="495468" y="2495083"/>
            <a:ext cx="630251" cy="335326"/>
          </a:xfrm>
          <a:prstGeom prst="roundRect">
            <a:avLst/>
          </a:prstGeom>
          <a:solidFill>
            <a:srgbClr val="00B2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>
                <a:latin typeface="Verdana" panose="020B0604030504040204" pitchFamily="34" charset="0"/>
                <a:ea typeface="Verdana" panose="020B0604030504040204" pitchFamily="34" charset="0"/>
              </a:rPr>
              <a:t>MSP</a:t>
            </a:r>
            <a:endParaRPr lang="fr-FR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2" name="Rectangle : coins arrondis 161">
            <a:extLst>
              <a:ext uri="{FF2B5EF4-FFF2-40B4-BE49-F238E27FC236}">
                <a16:creationId xmlns:a16="http://schemas.microsoft.com/office/drawing/2014/main" id="{496A307E-F87F-4584-BD86-CE0556BD2AB6}"/>
              </a:ext>
            </a:extLst>
          </p:cNvPr>
          <p:cNvSpPr/>
          <p:nvPr/>
        </p:nvSpPr>
        <p:spPr>
          <a:xfrm>
            <a:off x="1377504" y="2792441"/>
            <a:ext cx="630251" cy="335326"/>
          </a:xfrm>
          <a:prstGeom prst="roundRect">
            <a:avLst/>
          </a:prstGeom>
          <a:solidFill>
            <a:srgbClr val="00B2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>
                <a:latin typeface="Verdana" panose="020B0604030504040204" pitchFamily="34" charset="0"/>
                <a:ea typeface="Verdana" panose="020B0604030504040204" pitchFamily="34" charset="0"/>
              </a:rPr>
              <a:t>RI</a:t>
            </a:r>
            <a:endParaRPr lang="fr-FR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3" name="Rectangle : coins arrondis 162">
            <a:extLst>
              <a:ext uri="{FF2B5EF4-FFF2-40B4-BE49-F238E27FC236}">
                <a16:creationId xmlns:a16="http://schemas.microsoft.com/office/drawing/2014/main" id="{5CFEC364-59AC-44D7-85F2-82BEA8ECEDE7}"/>
              </a:ext>
            </a:extLst>
          </p:cNvPr>
          <p:cNvSpPr/>
          <p:nvPr/>
        </p:nvSpPr>
        <p:spPr>
          <a:xfrm>
            <a:off x="495468" y="3301995"/>
            <a:ext cx="1068157" cy="335080"/>
          </a:xfrm>
          <a:prstGeom prst="roundRect">
            <a:avLst/>
          </a:prstGeom>
          <a:solidFill>
            <a:srgbClr val="00B2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>
                <a:latin typeface="Verdana" panose="020B0604030504040204" pitchFamily="34" charset="0"/>
                <a:ea typeface="Verdana" panose="020B0604030504040204" pitchFamily="34" charset="0"/>
              </a:rPr>
              <a:t>Réservation</a:t>
            </a:r>
            <a:endParaRPr lang="fr-FR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5" name="Rectangle : coins arrondis 164">
            <a:extLst>
              <a:ext uri="{FF2B5EF4-FFF2-40B4-BE49-F238E27FC236}">
                <a16:creationId xmlns:a16="http://schemas.microsoft.com/office/drawing/2014/main" id="{CAAA3E33-B109-4D21-A2F4-445398D29668}"/>
              </a:ext>
            </a:extLst>
          </p:cNvPr>
          <p:cNvSpPr/>
          <p:nvPr/>
        </p:nvSpPr>
        <p:spPr>
          <a:xfrm>
            <a:off x="987875" y="3852492"/>
            <a:ext cx="779258" cy="359593"/>
          </a:xfrm>
          <a:prstGeom prst="roundRect">
            <a:avLst/>
          </a:prstGeom>
          <a:solidFill>
            <a:srgbClr val="00B2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>
                <a:latin typeface="Verdana" panose="020B0604030504040204" pitchFamily="34" charset="0"/>
                <a:ea typeface="Verdana" panose="020B0604030504040204" pitchFamily="34" charset="0"/>
              </a:rPr>
              <a:t>Compte</a:t>
            </a:r>
            <a:endParaRPr lang="fr-FR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6" name="Rectangle : coins arrondis 165">
            <a:extLst>
              <a:ext uri="{FF2B5EF4-FFF2-40B4-BE49-F238E27FC236}">
                <a16:creationId xmlns:a16="http://schemas.microsoft.com/office/drawing/2014/main" id="{38C3A993-663D-4117-870D-33E41129DCCF}"/>
              </a:ext>
            </a:extLst>
          </p:cNvPr>
          <p:cNvSpPr/>
          <p:nvPr/>
        </p:nvSpPr>
        <p:spPr>
          <a:xfrm>
            <a:off x="499467" y="4468813"/>
            <a:ext cx="1064157" cy="335080"/>
          </a:xfrm>
          <a:prstGeom prst="roundRect">
            <a:avLst/>
          </a:prstGeom>
          <a:solidFill>
            <a:srgbClr val="00B2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>
                <a:latin typeface="Verdana" panose="020B0604030504040204" pitchFamily="34" charset="0"/>
                <a:ea typeface="Verdana" panose="020B0604030504040204" pitchFamily="34" charset="0"/>
              </a:rPr>
              <a:t>Facturation</a:t>
            </a:r>
            <a:endParaRPr lang="fr-FR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7" name="Rectangle : coins arrondis 166">
            <a:extLst>
              <a:ext uri="{FF2B5EF4-FFF2-40B4-BE49-F238E27FC236}">
                <a16:creationId xmlns:a16="http://schemas.microsoft.com/office/drawing/2014/main" id="{6CF122A6-62DD-4545-89ED-ECC4F9DB39CC}"/>
              </a:ext>
            </a:extLst>
          </p:cNvPr>
          <p:cNvSpPr/>
          <p:nvPr/>
        </p:nvSpPr>
        <p:spPr>
          <a:xfrm>
            <a:off x="1767133" y="4629041"/>
            <a:ext cx="816669" cy="335080"/>
          </a:xfrm>
          <a:prstGeom prst="roundRect">
            <a:avLst/>
          </a:prstGeom>
          <a:solidFill>
            <a:srgbClr val="00B2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>
                <a:latin typeface="Verdana" panose="020B0604030504040204" pitchFamily="34" charset="0"/>
                <a:ea typeface="Verdana" panose="020B0604030504040204" pitchFamily="34" charset="0"/>
              </a:rPr>
              <a:t>Stations</a:t>
            </a:r>
            <a:endParaRPr lang="fr-FR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68" name="Connecteur droit 167">
            <a:extLst>
              <a:ext uri="{FF2B5EF4-FFF2-40B4-BE49-F238E27FC236}">
                <a16:creationId xmlns:a16="http://schemas.microsoft.com/office/drawing/2014/main" id="{FCCA15FE-4F5A-4272-B7B4-8160DBC533C9}"/>
              </a:ext>
            </a:extLst>
          </p:cNvPr>
          <p:cNvCxnSpPr>
            <a:cxnSpLocks/>
            <a:stCxn id="19" idx="1"/>
          </p:cNvCxnSpPr>
          <p:nvPr/>
        </p:nvCxnSpPr>
        <p:spPr>
          <a:xfrm flipH="1">
            <a:off x="2628488" y="3554185"/>
            <a:ext cx="688690" cy="0"/>
          </a:xfrm>
          <a:prstGeom prst="line">
            <a:avLst/>
          </a:prstGeom>
          <a:ln>
            <a:solidFill>
              <a:srgbClr val="57CF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4AD4220E-7753-49C2-8EDD-FCAD69F26B02}"/>
              </a:ext>
            </a:extLst>
          </p:cNvPr>
          <p:cNvSpPr/>
          <p:nvPr/>
        </p:nvSpPr>
        <p:spPr>
          <a:xfrm>
            <a:off x="5059192" y="3461219"/>
            <a:ext cx="1302129" cy="505882"/>
          </a:xfrm>
          <a:prstGeom prst="roundRect">
            <a:avLst/>
          </a:prstGeom>
          <a:solidFill>
            <a:srgbClr val="12ABD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>
                <a:latin typeface="Verdana" panose="020B0604030504040204" pitchFamily="34" charset="0"/>
                <a:ea typeface="Verdana" panose="020B0604030504040204" pitchFamily="34" charset="0"/>
              </a:rPr>
              <a:t>Consommation / Facturation</a:t>
            </a:r>
          </a:p>
        </p:txBody>
      </p:sp>
    </p:spTree>
    <p:extLst>
      <p:ext uri="{BB962C8B-B14F-4D97-AF65-F5344CB8AC3E}">
        <p14:creationId xmlns:p14="http://schemas.microsoft.com/office/powerpoint/2010/main" val="1152749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0ADDBD1-81E2-4102-BFF3-E2F5D5151B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6224" y="109728"/>
            <a:ext cx="6871231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4894C626-64B5-44A0-A1AD-1F4C539EE839}"/>
              </a:ext>
            </a:extLst>
          </p:cNvPr>
          <p:cNvSpPr txBox="1"/>
          <p:nvPr/>
        </p:nvSpPr>
        <p:spPr>
          <a:xfrm>
            <a:off x="688086" y="519422"/>
            <a:ext cx="60944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-40" normalizeH="0" baseline="0" noProof="0">
                <a:ln>
                  <a:noFill/>
                </a:ln>
                <a:solidFill>
                  <a:srgbClr val="46496A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rPr>
              <a:t>Modèle de données GW</a:t>
            </a:r>
          </a:p>
        </p:txBody>
      </p:sp>
    </p:spTree>
    <p:extLst>
      <p:ext uri="{BB962C8B-B14F-4D97-AF65-F5344CB8AC3E}">
        <p14:creationId xmlns:p14="http://schemas.microsoft.com/office/powerpoint/2010/main" val="25247749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76B1FBB2-62E2-4084-9DBB-5AA4D30B4F05}"/>
              </a:ext>
            </a:extLst>
          </p:cNvPr>
          <p:cNvSpPr/>
          <p:nvPr/>
        </p:nvSpPr>
        <p:spPr>
          <a:xfrm>
            <a:off x="0" y="0"/>
            <a:ext cx="259769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277479DA-45BE-4F07-8492-92DAD8E8CAD1}"/>
              </a:ext>
            </a:extLst>
          </p:cNvPr>
          <p:cNvSpPr txBox="1"/>
          <p:nvPr/>
        </p:nvSpPr>
        <p:spPr>
          <a:xfrm>
            <a:off x="1095871" y="1320988"/>
            <a:ext cx="1004887" cy="6104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Données </a:t>
            </a: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théoriques et temps réel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747A9EC-DC82-46E4-B476-09044F87D470}"/>
              </a:ext>
            </a:extLst>
          </p:cNvPr>
          <p:cNvSpPr txBox="1"/>
          <p:nvPr/>
        </p:nvSpPr>
        <p:spPr>
          <a:xfrm>
            <a:off x="1095871" y="1856030"/>
            <a:ext cx="782641" cy="44114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Données </a:t>
            </a: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5866D9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d’usage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76415CE9-6445-419B-9ADF-208F0934DF53}"/>
              </a:ext>
            </a:extLst>
          </p:cNvPr>
          <p:cNvSpPr txBox="1"/>
          <p:nvPr/>
        </p:nvSpPr>
        <p:spPr>
          <a:xfrm>
            <a:off x="1095871" y="2263831"/>
            <a:ext cx="954087" cy="6104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Données </a:t>
            </a: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du compte mobilité</a:t>
            </a: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114E6059-C3BF-4418-A76D-6B26C00DD126}"/>
              </a:ext>
            </a:extLst>
          </p:cNvPr>
          <p:cNvCxnSpPr>
            <a:cxnSpLocks/>
          </p:cNvCxnSpPr>
          <p:nvPr/>
        </p:nvCxnSpPr>
        <p:spPr>
          <a:xfrm>
            <a:off x="423753" y="1649718"/>
            <a:ext cx="672117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E6D33673-E2EC-4BED-A1AE-9CEC2066FCB7}"/>
              </a:ext>
            </a:extLst>
          </p:cNvPr>
          <p:cNvCxnSpPr>
            <a:cxnSpLocks/>
          </p:cNvCxnSpPr>
          <p:nvPr/>
        </p:nvCxnSpPr>
        <p:spPr>
          <a:xfrm>
            <a:off x="423753" y="2109381"/>
            <a:ext cx="672117" cy="0"/>
          </a:xfrm>
          <a:prstGeom prst="line">
            <a:avLst/>
          </a:prstGeom>
          <a:noFill/>
          <a:ln w="25400" cap="flat">
            <a:solidFill>
              <a:srgbClr val="5866D9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2BF4D6F2-F285-4EBE-8E7B-0547A52C5799}"/>
              </a:ext>
            </a:extLst>
          </p:cNvPr>
          <p:cNvCxnSpPr>
            <a:cxnSpLocks/>
          </p:cNvCxnSpPr>
          <p:nvPr/>
        </p:nvCxnSpPr>
        <p:spPr>
          <a:xfrm>
            <a:off x="423753" y="2569044"/>
            <a:ext cx="672117" cy="0"/>
          </a:xfrm>
          <a:prstGeom prst="line">
            <a:avLst/>
          </a:prstGeom>
          <a:noFill/>
          <a:ln w="25400" cap="flat">
            <a:solidFill>
              <a:schemeClr val="accent4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49" name="Rectangle: Rounded Corners 248">
            <a:extLst>
              <a:ext uri="{FF2B5EF4-FFF2-40B4-BE49-F238E27FC236}">
                <a16:creationId xmlns:a16="http://schemas.microsoft.com/office/drawing/2014/main" id="{DB0D87B6-12C5-4854-B09D-E874ABC95A8F}"/>
              </a:ext>
            </a:extLst>
          </p:cNvPr>
          <p:cNvSpPr/>
          <p:nvPr/>
        </p:nvSpPr>
        <p:spPr>
          <a:xfrm>
            <a:off x="423753" y="3732276"/>
            <a:ext cx="909238" cy="180000"/>
          </a:xfrm>
          <a:prstGeom prst="roundRect">
            <a:avLst/>
          </a:prstGeom>
          <a:solidFill>
            <a:schemeClr val="bg1"/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CTEUR</a:t>
            </a:r>
          </a:p>
        </p:txBody>
      </p:sp>
      <p:sp>
        <p:nvSpPr>
          <p:cNvPr id="250" name="Rectangle: Top Corners Rounded 249">
            <a:extLst>
              <a:ext uri="{FF2B5EF4-FFF2-40B4-BE49-F238E27FC236}">
                <a16:creationId xmlns:a16="http://schemas.microsoft.com/office/drawing/2014/main" id="{11FF4B5A-213D-49B0-AA66-D63DF034B9D0}"/>
              </a:ext>
            </a:extLst>
          </p:cNvPr>
          <p:cNvSpPr/>
          <p:nvPr/>
        </p:nvSpPr>
        <p:spPr>
          <a:xfrm>
            <a:off x="423753" y="4011866"/>
            <a:ext cx="909238" cy="180000"/>
          </a:xfrm>
          <a:prstGeom prst="round2SameRect">
            <a:avLst/>
          </a:prstGeom>
          <a:solidFill>
            <a:schemeClr val="bg1"/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ONCTIONNALITÉ</a:t>
            </a: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23E1C2EF-74D9-4662-BB68-04E47D108F4D}"/>
              </a:ext>
            </a:extLst>
          </p:cNvPr>
          <p:cNvSpPr/>
          <p:nvPr/>
        </p:nvSpPr>
        <p:spPr>
          <a:xfrm>
            <a:off x="423753" y="4295957"/>
            <a:ext cx="909238" cy="180000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SP</a:t>
            </a:r>
          </a:p>
        </p:txBody>
      </p:sp>
      <p:sp>
        <p:nvSpPr>
          <p:cNvPr id="252" name="Rectangle: Diagonal Corners Snipped 251">
            <a:extLst>
              <a:ext uri="{FF2B5EF4-FFF2-40B4-BE49-F238E27FC236}">
                <a16:creationId xmlns:a16="http://schemas.microsoft.com/office/drawing/2014/main" id="{1A8C5A65-986F-4DBE-AD65-14F8AD29B761}"/>
              </a:ext>
            </a:extLst>
          </p:cNvPr>
          <p:cNvSpPr/>
          <p:nvPr/>
        </p:nvSpPr>
        <p:spPr>
          <a:xfrm>
            <a:off x="423753" y="4575547"/>
            <a:ext cx="909238" cy="180000"/>
          </a:xfrm>
          <a:prstGeom prst="snip2DiagRect">
            <a:avLst/>
          </a:prstGeom>
          <a:solidFill>
            <a:schemeClr val="bg1"/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DAPTATEUR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4092E2AD-0036-4F17-BCC8-365E4EF31EB7}"/>
              </a:ext>
            </a:extLst>
          </p:cNvPr>
          <p:cNvSpPr txBox="1"/>
          <p:nvPr/>
        </p:nvSpPr>
        <p:spPr>
          <a:xfrm>
            <a:off x="384598" y="953941"/>
            <a:ext cx="1631646" cy="2718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sng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Légende</a:t>
            </a:r>
          </a:p>
        </p:txBody>
      </p:sp>
      <p:sp>
        <p:nvSpPr>
          <p:cNvPr id="263" name="Title 3">
            <a:extLst>
              <a:ext uri="{FF2B5EF4-FFF2-40B4-BE49-F238E27FC236}">
                <a16:creationId xmlns:a16="http://schemas.microsoft.com/office/drawing/2014/main" id="{7D706B79-E545-48CE-9350-8B9A0B023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731" y="86506"/>
            <a:ext cx="2338496" cy="906208"/>
          </a:xfrm>
        </p:spPr>
        <p:txBody>
          <a:bodyPr/>
          <a:lstStyle/>
          <a:p>
            <a:r>
              <a:rPr lang="fr-FR"/>
              <a:t>Architecture générale détaillée</a:t>
            </a:r>
          </a:p>
        </p:txBody>
      </p:sp>
      <p:sp>
        <p:nvSpPr>
          <p:cNvPr id="328" name="Rectangle: Rounded Corners 327">
            <a:extLst>
              <a:ext uri="{FF2B5EF4-FFF2-40B4-BE49-F238E27FC236}">
                <a16:creationId xmlns:a16="http://schemas.microsoft.com/office/drawing/2014/main" id="{AA0F7453-2108-4B65-80CB-B7C7E479DC92}"/>
              </a:ext>
            </a:extLst>
          </p:cNvPr>
          <p:cNvSpPr/>
          <p:nvPr/>
        </p:nvSpPr>
        <p:spPr>
          <a:xfrm>
            <a:off x="5655378" y="941787"/>
            <a:ext cx="3600618" cy="4970224"/>
          </a:xfrm>
          <a:prstGeom prst="roundRect">
            <a:avLst>
              <a:gd name="adj" fmla="val 7673"/>
            </a:avLst>
          </a:prstGeom>
          <a:solidFill>
            <a:srgbClr val="D5D5D5"/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64" name="Rectangle: Rounded Corners 263">
            <a:extLst>
              <a:ext uri="{FF2B5EF4-FFF2-40B4-BE49-F238E27FC236}">
                <a16:creationId xmlns:a16="http://schemas.microsoft.com/office/drawing/2014/main" id="{1A94F35D-147C-4F9C-AAEC-EC809F8C3849}"/>
              </a:ext>
            </a:extLst>
          </p:cNvPr>
          <p:cNvSpPr/>
          <p:nvPr/>
        </p:nvSpPr>
        <p:spPr>
          <a:xfrm>
            <a:off x="2893140" y="941786"/>
            <a:ext cx="2226576" cy="4970224"/>
          </a:xfrm>
          <a:prstGeom prst="roundRect">
            <a:avLst>
              <a:gd name="adj" fmla="val 6828"/>
            </a:avLst>
          </a:prstGeom>
          <a:noFill/>
          <a:ln w="12700" cap="flat">
            <a:solidFill>
              <a:srgbClr val="00C87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6" name="Rectangle: Rounded Corners 35">
            <a:extLst>
              <a:ext uri="{FF2B5EF4-FFF2-40B4-BE49-F238E27FC236}">
                <a16:creationId xmlns:a16="http://schemas.microsoft.com/office/drawing/2014/main" id="{B00F3D06-960B-4AE6-A994-2D25D85F7DB0}"/>
              </a:ext>
            </a:extLst>
          </p:cNvPr>
          <p:cNvSpPr/>
          <p:nvPr/>
        </p:nvSpPr>
        <p:spPr>
          <a:xfrm>
            <a:off x="3151354" y="2389039"/>
            <a:ext cx="173736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Stationnemen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918BFCD-4098-4E53-A09B-572AC0049F66}"/>
              </a:ext>
            </a:extLst>
          </p:cNvPr>
          <p:cNvSpPr/>
          <p:nvPr/>
        </p:nvSpPr>
        <p:spPr>
          <a:xfrm>
            <a:off x="3181835" y="684708"/>
            <a:ext cx="1682267" cy="453212"/>
          </a:xfrm>
          <a:prstGeom prst="round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MSP</a:t>
            </a:r>
          </a:p>
        </p:txBody>
      </p:sp>
      <p:sp>
        <p:nvSpPr>
          <p:cNvPr id="19" name="Rectangle: Rounded Corners 35">
            <a:extLst>
              <a:ext uri="{FF2B5EF4-FFF2-40B4-BE49-F238E27FC236}">
                <a16:creationId xmlns:a16="http://schemas.microsoft.com/office/drawing/2014/main" id="{C3CDD5D0-E206-479B-9478-95831DA3B049}"/>
              </a:ext>
            </a:extLst>
          </p:cNvPr>
          <p:cNvSpPr/>
          <p:nvPr/>
        </p:nvSpPr>
        <p:spPr>
          <a:xfrm>
            <a:off x="6069175" y="1194331"/>
            <a:ext cx="2817467" cy="4390255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600" b="1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orbel" panose="020B0503020204020204" pitchFamily="34" charset="0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77E41B2-7DAB-4F45-B337-3A98F60446D5}"/>
              </a:ext>
            </a:extLst>
          </p:cNvPr>
          <p:cNvSpPr txBox="1"/>
          <p:nvPr/>
        </p:nvSpPr>
        <p:spPr>
          <a:xfrm>
            <a:off x="6381703" y="1158053"/>
            <a:ext cx="2192412" cy="2718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HUB MCM</a:t>
            </a:r>
          </a:p>
        </p:txBody>
      </p: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FA4150BB-51B9-4B7C-A2AA-2A1E95521DC0}"/>
              </a:ext>
            </a:extLst>
          </p:cNvPr>
          <p:cNvSpPr/>
          <p:nvPr/>
        </p:nvSpPr>
        <p:spPr>
          <a:xfrm>
            <a:off x="3192177" y="2553534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IV</a:t>
            </a:r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78312B9E-2797-48A2-B19E-70E336EEB7E9}"/>
              </a:ext>
            </a:extLst>
          </p:cNvPr>
          <p:cNvSpPr/>
          <p:nvPr/>
        </p:nvSpPr>
        <p:spPr>
          <a:xfrm>
            <a:off x="3533536" y="2553534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RESA</a:t>
            </a:r>
          </a:p>
        </p:txBody>
      </p:sp>
      <p:sp>
        <p:nvSpPr>
          <p:cNvPr id="40" name="Rectangle: Top Corners Rounded 39">
            <a:extLst>
              <a:ext uri="{FF2B5EF4-FFF2-40B4-BE49-F238E27FC236}">
                <a16:creationId xmlns:a16="http://schemas.microsoft.com/office/drawing/2014/main" id="{F1DC99EB-1486-4239-B3BD-3B1DEE11D8B1}"/>
              </a:ext>
            </a:extLst>
          </p:cNvPr>
          <p:cNvSpPr/>
          <p:nvPr/>
        </p:nvSpPr>
        <p:spPr>
          <a:xfrm>
            <a:off x="4216254" y="2553534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41" name="Rectangle: Top Corners Rounded 40">
            <a:extLst>
              <a:ext uri="{FF2B5EF4-FFF2-40B4-BE49-F238E27FC236}">
                <a16:creationId xmlns:a16="http://schemas.microsoft.com/office/drawing/2014/main" id="{8A6C033A-D571-411C-8E8C-C9EC2982B92E}"/>
              </a:ext>
            </a:extLst>
          </p:cNvPr>
          <p:cNvSpPr/>
          <p:nvPr/>
        </p:nvSpPr>
        <p:spPr>
          <a:xfrm>
            <a:off x="3874895" y="2553534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</a:t>
            </a:r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A1C5D152-DE25-4847-87D8-D3304282C6B4}"/>
              </a:ext>
            </a:extLst>
          </p:cNvPr>
          <p:cNvSpPr/>
          <p:nvPr/>
        </p:nvSpPr>
        <p:spPr>
          <a:xfrm>
            <a:off x="4557615" y="2553534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</a:t>
            </a:r>
          </a:p>
        </p:txBody>
      </p:sp>
      <p:sp>
        <p:nvSpPr>
          <p:cNvPr id="68" name="Rectangle: Rounded Corners 36">
            <a:extLst>
              <a:ext uri="{FF2B5EF4-FFF2-40B4-BE49-F238E27FC236}">
                <a16:creationId xmlns:a16="http://schemas.microsoft.com/office/drawing/2014/main" id="{E1915753-5FB9-4FA2-BA38-2E8B35BEB595}"/>
              </a:ext>
            </a:extLst>
          </p:cNvPr>
          <p:cNvSpPr/>
          <p:nvPr/>
        </p:nvSpPr>
        <p:spPr>
          <a:xfrm>
            <a:off x="6317632" y="1455865"/>
            <a:ext cx="1501203" cy="473937"/>
          </a:xfrm>
          <a:prstGeom prst="round2Same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t" anchorCtr="0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COMPTE MOBILITE</a:t>
            </a:r>
          </a:p>
        </p:txBody>
      </p:sp>
      <p:sp>
        <p:nvSpPr>
          <p:cNvPr id="74" name="Rectangle: Top Corners Rounded 73">
            <a:extLst>
              <a:ext uri="{FF2B5EF4-FFF2-40B4-BE49-F238E27FC236}">
                <a16:creationId xmlns:a16="http://schemas.microsoft.com/office/drawing/2014/main" id="{D7CB5EB2-A59F-45C0-B285-BF02DD65C6E8}"/>
              </a:ext>
            </a:extLst>
          </p:cNvPr>
          <p:cNvSpPr/>
          <p:nvPr/>
        </p:nvSpPr>
        <p:spPr>
          <a:xfrm>
            <a:off x="6549850" y="1704263"/>
            <a:ext cx="282883" cy="157631"/>
          </a:xfrm>
          <a:prstGeom prst="round2SameRect">
            <a:avLst/>
          </a:prstGeom>
          <a:solidFill>
            <a:schemeClr val="accent4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CONNECT</a:t>
            </a:r>
          </a:p>
        </p:txBody>
      </p:sp>
      <p:sp>
        <p:nvSpPr>
          <p:cNvPr id="76" name="Rectangle: Top Corners Rounded 75">
            <a:extLst>
              <a:ext uri="{FF2B5EF4-FFF2-40B4-BE49-F238E27FC236}">
                <a16:creationId xmlns:a16="http://schemas.microsoft.com/office/drawing/2014/main" id="{E93E9D30-ED1C-4BCB-947E-AABBC83B6ADA}"/>
              </a:ext>
            </a:extLst>
          </p:cNvPr>
          <p:cNvSpPr/>
          <p:nvPr/>
        </p:nvSpPr>
        <p:spPr>
          <a:xfrm>
            <a:off x="6848714" y="1704263"/>
            <a:ext cx="220070" cy="157631"/>
          </a:xfrm>
          <a:prstGeom prst="round2SameRect">
            <a:avLst/>
          </a:prstGeom>
          <a:solidFill>
            <a:schemeClr val="accent4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AIDES</a:t>
            </a:r>
          </a:p>
        </p:txBody>
      </p:sp>
      <p:sp>
        <p:nvSpPr>
          <p:cNvPr id="77" name="Rectangle: Top Corners Rounded 76">
            <a:extLst>
              <a:ext uri="{FF2B5EF4-FFF2-40B4-BE49-F238E27FC236}">
                <a16:creationId xmlns:a16="http://schemas.microsoft.com/office/drawing/2014/main" id="{91E25727-D69F-4D64-8890-6CC5582FA734}"/>
              </a:ext>
            </a:extLst>
          </p:cNvPr>
          <p:cNvSpPr/>
          <p:nvPr/>
        </p:nvSpPr>
        <p:spPr>
          <a:xfrm>
            <a:off x="7079097" y="1704263"/>
            <a:ext cx="220070" cy="157631"/>
          </a:xfrm>
          <a:prstGeom prst="round2SameRect">
            <a:avLst/>
          </a:prstGeom>
          <a:solidFill>
            <a:schemeClr val="accent4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JUSTIF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57F98DD7-9839-49FC-8985-E5398E87FCD1}"/>
              </a:ext>
            </a:extLst>
          </p:cNvPr>
          <p:cNvSpPr/>
          <p:nvPr/>
        </p:nvSpPr>
        <p:spPr>
          <a:xfrm>
            <a:off x="9760066" y="684708"/>
            <a:ext cx="1881733" cy="453212"/>
          </a:xfrm>
          <a:prstGeom prst="round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EDITEURS DE MAAS</a:t>
            </a:r>
          </a:p>
        </p:txBody>
      </p:sp>
      <p:sp>
        <p:nvSpPr>
          <p:cNvPr id="79" name="Rectangle: Rounded Corners 35">
            <a:extLst>
              <a:ext uri="{FF2B5EF4-FFF2-40B4-BE49-F238E27FC236}">
                <a16:creationId xmlns:a16="http://schemas.microsoft.com/office/drawing/2014/main" id="{4E883253-D5C1-4A41-8AC6-13FC34081E22}"/>
              </a:ext>
            </a:extLst>
          </p:cNvPr>
          <p:cNvSpPr/>
          <p:nvPr/>
        </p:nvSpPr>
        <p:spPr>
          <a:xfrm>
            <a:off x="9776086" y="1243216"/>
            <a:ext cx="1865714" cy="34751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600" b="1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orbel" panose="020B0503020204020204" pitchFamily="34" charset="0"/>
              <a:cs typeface="Arial"/>
              <a:sym typeface="Arial"/>
            </a:endParaRPr>
          </a:p>
        </p:txBody>
      </p:sp>
      <p:sp>
        <p:nvSpPr>
          <p:cNvPr id="82" name="Rectangle: Rounded Corners 36">
            <a:extLst>
              <a:ext uri="{FF2B5EF4-FFF2-40B4-BE49-F238E27FC236}">
                <a16:creationId xmlns:a16="http://schemas.microsoft.com/office/drawing/2014/main" id="{D1A311BA-49BC-4924-B776-DD641FADE73D}"/>
              </a:ext>
            </a:extLst>
          </p:cNvPr>
          <p:cNvSpPr/>
          <p:nvPr/>
        </p:nvSpPr>
        <p:spPr>
          <a:xfrm>
            <a:off x="8019328" y="1445297"/>
            <a:ext cx="666478" cy="473937"/>
          </a:xfrm>
          <a:prstGeom prst="snip2Diag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 anchorCtr="0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API MCM</a:t>
            </a:r>
          </a:p>
        </p:txBody>
      </p:sp>
      <p:sp>
        <p:nvSpPr>
          <p:cNvPr id="83" name="Rectangle: Rounded Corners 28">
            <a:extLst>
              <a:ext uri="{FF2B5EF4-FFF2-40B4-BE49-F238E27FC236}">
                <a16:creationId xmlns:a16="http://schemas.microsoft.com/office/drawing/2014/main" id="{2AE3A20B-39C6-49B8-AC0A-0429937001AD}"/>
              </a:ext>
            </a:extLst>
          </p:cNvPr>
          <p:cNvSpPr/>
          <p:nvPr/>
        </p:nvSpPr>
        <p:spPr>
          <a:xfrm>
            <a:off x="11277180" y="1506797"/>
            <a:ext cx="230945" cy="2939709"/>
          </a:xfrm>
          <a:prstGeom prst="round2Same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API</a:t>
            </a:r>
          </a:p>
        </p:txBody>
      </p:sp>
      <p:sp>
        <p:nvSpPr>
          <p:cNvPr id="87" name="Rectangle: Rounded Corners 36">
            <a:extLst>
              <a:ext uri="{FF2B5EF4-FFF2-40B4-BE49-F238E27FC236}">
                <a16:creationId xmlns:a16="http://schemas.microsoft.com/office/drawing/2014/main" id="{F06C3034-8974-40D5-B2C7-775F41CD7523}"/>
              </a:ext>
            </a:extLst>
          </p:cNvPr>
          <p:cNvSpPr/>
          <p:nvPr/>
        </p:nvSpPr>
        <p:spPr>
          <a:xfrm>
            <a:off x="9912270" y="1515244"/>
            <a:ext cx="278828" cy="2939709"/>
          </a:xfrm>
          <a:prstGeom prst="round2Same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Data Hub MaaS</a:t>
            </a:r>
          </a:p>
        </p:txBody>
      </p:sp>
      <p:sp>
        <p:nvSpPr>
          <p:cNvPr id="84" name="Rectangle: Rounded Corners 30">
            <a:extLst>
              <a:ext uri="{FF2B5EF4-FFF2-40B4-BE49-F238E27FC236}">
                <a16:creationId xmlns:a16="http://schemas.microsoft.com/office/drawing/2014/main" id="{1303AD6A-FBDA-4D20-970B-BE2729AE0204}"/>
              </a:ext>
            </a:extLst>
          </p:cNvPr>
          <p:cNvSpPr/>
          <p:nvPr/>
        </p:nvSpPr>
        <p:spPr>
          <a:xfrm>
            <a:off x="10408620" y="1821500"/>
            <a:ext cx="771915" cy="404547"/>
          </a:xfrm>
          <a:prstGeom prst="round2Same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Système d’Information Multimodale</a:t>
            </a:r>
          </a:p>
        </p:txBody>
      </p:sp>
      <p:sp>
        <p:nvSpPr>
          <p:cNvPr id="85" name="Rectangle: Rounded Corners 32">
            <a:extLst>
              <a:ext uri="{FF2B5EF4-FFF2-40B4-BE49-F238E27FC236}">
                <a16:creationId xmlns:a16="http://schemas.microsoft.com/office/drawing/2014/main" id="{4724D564-8213-4420-B24A-A961ABA15B48}"/>
              </a:ext>
            </a:extLst>
          </p:cNvPr>
          <p:cNvSpPr/>
          <p:nvPr/>
        </p:nvSpPr>
        <p:spPr>
          <a:xfrm>
            <a:off x="10408617" y="2486976"/>
            <a:ext cx="771915" cy="403422"/>
          </a:xfrm>
          <a:prstGeom prst="round2Same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Billettique</a:t>
            </a:r>
          </a:p>
        </p:txBody>
      </p:sp>
      <p:sp>
        <p:nvSpPr>
          <p:cNvPr id="86" name="Rectangle: Rounded Corners 34">
            <a:extLst>
              <a:ext uri="{FF2B5EF4-FFF2-40B4-BE49-F238E27FC236}">
                <a16:creationId xmlns:a16="http://schemas.microsoft.com/office/drawing/2014/main" id="{B761641B-061C-4B37-8D30-90A06232A0D3}"/>
              </a:ext>
            </a:extLst>
          </p:cNvPr>
          <p:cNvSpPr/>
          <p:nvPr/>
        </p:nvSpPr>
        <p:spPr>
          <a:xfrm>
            <a:off x="10409292" y="3151218"/>
            <a:ext cx="771052" cy="404547"/>
          </a:xfrm>
          <a:prstGeom prst="round2Same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Compte mobilité</a:t>
            </a:r>
          </a:p>
        </p:txBody>
      </p:sp>
      <p:sp>
        <p:nvSpPr>
          <p:cNvPr id="88" name="Rectangle: Rounded Corners 34">
            <a:extLst>
              <a:ext uri="{FF2B5EF4-FFF2-40B4-BE49-F238E27FC236}">
                <a16:creationId xmlns:a16="http://schemas.microsoft.com/office/drawing/2014/main" id="{DE304205-792C-47F1-80F0-A4B0DFD81A4E}"/>
              </a:ext>
            </a:extLst>
          </p:cNvPr>
          <p:cNvSpPr/>
          <p:nvPr/>
        </p:nvSpPr>
        <p:spPr>
          <a:xfrm>
            <a:off x="10409292" y="3816693"/>
            <a:ext cx="771052" cy="404547"/>
          </a:xfrm>
          <a:prstGeom prst="round2Same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Autres</a:t>
            </a:r>
          </a:p>
        </p:txBody>
      </p:sp>
      <p:sp>
        <p:nvSpPr>
          <p:cNvPr id="80" name="Rectangle: Rounded Corners 36">
            <a:extLst>
              <a:ext uri="{FF2B5EF4-FFF2-40B4-BE49-F238E27FC236}">
                <a16:creationId xmlns:a16="http://schemas.microsoft.com/office/drawing/2014/main" id="{39AA1495-5305-4C68-85DF-4B62BEE79B69}"/>
              </a:ext>
            </a:extLst>
          </p:cNvPr>
          <p:cNvSpPr/>
          <p:nvPr/>
        </p:nvSpPr>
        <p:spPr>
          <a:xfrm>
            <a:off x="8067291" y="2101077"/>
            <a:ext cx="650241" cy="3180868"/>
          </a:xfrm>
          <a:prstGeom prst="snip2Diag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 anchorCtr="0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API MAAS</a:t>
            </a:r>
          </a:p>
        </p:txBody>
      </p:sp>
      <p:sp>
        <p:nvSpPr>
          <p:cNvPr id="265" name="Rectangle: Rounded Corners 35">
            <a:extLst>
              <a:ext uri="{FF2B5EF4-FFF2-40B4-BE49-F238E27FC236}">
                <a16:creationId xmlns:a16="http://schemas.microsoft.com/office/drawing/2014/main" id="{7865A2D2-9CCC-42C6-B58A-2D8EB51C8B3E}"/>
              </a:ext>
            </a:extLst>
          </p:cNvPr>
          <p:cNvSpPr/>
          <p:nvPr/>
        </p:nvSpPr>
        <p:spPr>
          <a:xfrm>
            <a:off x="3151354" y="2833271"/>
            <a:ext cx="173736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Autopartage</a:t>
            </a:r>
          </a:p>
        </p:txBody>
      </p:sp>
      <p:sp>
        <p:nvSpPr>
          <p:cNvPr id="271" name="Rectangle: Rounded Corners 35">
            <a:extLst>
              <a:ext uri="{FF2B5EF4-FFF2-40B4-BE49-F238E27FC236}">
                <a16:creationId xmlns:a16="http://schemas.microsoft.com/office/drawing/2014/main" id="{FE3E37BA-5555-4035-9E25-A5E0A1DB1EEF}"/>
              </a:ext>
            </a:extLst>
          </p:cNvPr>
          <p:cNvSpPr/>
          <p:nvPr/>
        </p:nvSpPr>
        <p:spPr>
          <a:xfrm>
            <a:off x="3147372" y="3276530"/>
            <a:ext cx="173736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Freefloating</a:t>
            </a:r>
            <a:endParaRPr kumimoji="0" lang="fr-FR" sz="700" b="1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orbel" panose="020B0503020204020204" pitchFamily="34" charset="0"/>
              <a:cs typeface="Arial"/>
              <a:sym typeface="Arial"/>
            </a:endParaRPr>
          </a:p>
        </p:txBody>
      </p:sp>
      <p:sp>
        <p:nvSpPr>
          <p:cNvPr id="277" name="Rectangle: Rounded Corners 35">
            <a:extLst>
              <a:ext uri="{FF2B5EF4-FFF2-40B4-BE49-F238E27FC236}">
                <a16:creationId xmlns:a16="http://schemas.microsoft.com/office/drawing/2014/main" id="{C76C98D3-E3E6-4E7E-B3F2-B1E3705FF3B0}"/>
              </a:ext>
            </a:extLst>
          </p:cNvPr>
          <p:cNvSpPr/>
          <p:nvPr/>
        </p:nvSpPr>
        <p:spPr>
          <a:xfrm>
            <a:off x="3154025" y="3703642"/>
            <a:ext cx="173736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Covoiturage</a:t>
            </a:r>
          </a:p>
        </p:txBody>
      </p:sp>
      <p:sp>
        <p:nvSpPr>
          <p:cNvPr id="283" name="Rectangle: Rounded Corners 35">
            <a:extLst>
              <a:ext uri="{FF2B5EF4-FFF2-40B4-BE49-F238E27FC236}">
                <a16:creationId xmlns:a16="http://schemas.microsoft.com/office/drawing/2014/main" id="{88C77DB6-A199-4D3F-97F6-6427F8F1C756}"/>
              </a:ext>
            </a:extLst>
          </p:cNvPr>
          <p:cNvSpPr/>
          <p:nvPr/>
        </p:nvSpPr>
        <p:spPr>
          <a:xfrm>
            <a:off x="3159499" y="4142083"/>
            <a:ext cx="173736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Taxi / VTC</a:t>
            </a:r>
          </a:p>
        </p:txBody>
      </p:sp>
      <p:sp>
        <p:nvSpPr>
          <p:cNvPr id="371" name="Rectangle: Top Corners Rounded 370">
            <a:extLst>
              <a:ext uri="{FF2B5EF4-FFF2-40B4-BE49-F238E27FC236}">
                <a16:creationId xmlns:a16="http://schemas.microsoft.com/office/drawing/2014/main" id="{CD7BDD8B-65C5-48C8-A4F6-C1814F8025C1}"/>
              </a:ext>
            </a:extLst>
          </p:cNvPr>
          <p:cNvSpPr/>
          <p:nvPr/>
        </p:nvSpPr>
        <p:spPr>
          <a:xfrm>
            <a:off x="3192177" y="2985485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IV</a:t>
            </a:r>
          </a:p>
        </p:txBody>
      </p:sp>
      <p:sp>
        <p:nvSpPr>
          <p:cNvPr id="372" name="Rectangle: Top Corners Rounded 371">
            <a:extLst>
              <a:ext uri="{FF2B5EF4-FFF2-40B4-BE49-F238E27FC236}">
                <a16:creationId xmlns:a16="http://schemas.microsoft.com/office/drawing/2014/main" id="{0FB96BBB-7F0B-4AB2-BB52-FC614B83828D}"/>
              </a:ext>
            </a:extLst>
          </p:cNvPr>
          <p:cNvSpPr/>
          <p:nvPr/>
        </p:nvSpPr>
        <p:spPr>
          <a:xfrm>
            <a:off x="3533536" y="2985485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RESA</a:t>
            </a:r>
          </a:p>
        </p:txBody>
      </p:sp>
      <p:sp>
        <p:nvSpPr>
          <p:cNvPr id="373" name="Rectangle: Top Corners Rounded 372">
            <a:extLst>
              <a:ext uri="{FF2B5EF4-FFF2-40B4-BE49-F238E27FC236}">
                <a16:creationId xmlns:a16="http://schemas.microsoft.com/office/drawing/2014/main" id="{31EE2E5E-88B6-4986-B24F-46399DD0AE25}"/>
              </a:ext>
            </a:extLst>
          </p:cNvPr>
          <p:cNvSpPr/>
          <p:nvPr/>
        </p:nvSpPr>
        <p:spPr>
          <a:xfrm>
            <a:off x="4216254" y="2985485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374" name="Rectangle: Top Corners Rounded 373">
            <a:extLst>
              <a:ext uri="{FF2B5EF4-FFF2-40B4-BE49-F238E27FC236}">
                <a16:creationId xmlns:a16="http://schemas.microsoft.com/office/drawing/2014/main" id="{B25200A7-7E56-46FF-8763-00CB10874DB0}"/>
              </a:ext>
            </a:extLst>
          </p:cNvPr>
          <p:cNvSpPr/>
          <p:nvPr/>
        </p:nvSpPr>
        <p:spPr>
          <a:xfrm>
            <a:off x="3874895" y="2985485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</a:t>
            </a:r>
          </a:p>
        </p:txBody>
      </p:sp>
      <p:sp>
        <p:nvSpPr>
          <p:cNvPr id="375" name="Rectangle: Top Corners Rounded 374">
            <a:extLst>
              <a:ext uri="{FF2B5EF4-FFF2-40B4-BE49-F238E27FC236}">
                <a16:creationId xmlns:a16="http://schemas.microsoft.com/office/drawing/2014/main" id="{7822FFB7-5BF9-4F33-A4CE-E73B38CBF2D0}"/>
              </a:ext>
            </a:extLst>
          </p:cNvPr>
          <p:cNvSpPr/>
          <p:nvPr/>
        </p:nvSpPr>
        <p:spPr>
          <a:xfrm>
            <a:off x="4557615" y="2985485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</a:t>
            </a:r>
          </a:p>
        </p:txBody>
      </p:sp>
      <p:sp>
        <p:nvSpPr>
          <p:cNvPr id="376" name="Rectangle: Top Corners Rounded 375">
            <a:extLst>
              <a:ext uri="{FF2B5EF4-FFF2-40B4-BE49-F238E27FC236}">
                <a16:creationId xmlns:a16="http://schemas.microsoft.com/office/drawing/2014/main" id="{CD49E79F-0E1D-4509-810C-C5BE276126D5}"/>
              </a:ext>
            </a:extLst>
          </p:cNvPr>
          <p:cNvSpPr/>
          <p:nvPr/>
        </p:nvSpPr>
        <p:spPr>
          <a:xfrm>
            <a:off x="3192177" y="3441272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IV</a:t>
            </a:r>
          </a:p>
        </p:txBody>
      </p:sp>
      <p:sp>
        <p:nvSpPr>
          <p:cNvPr id="377" name="Rectangle: Top Corners Rounded 376">
            <a:extLst>
              <a:ext uri="{FF2B5EF4-FFF2-40B4-BE49-F238E27FC236}">
                <a16:creationId xmlns:a16="http://schemas.microsoft.com/office/drawing/2014/main" id="{3F085B24-CCDC-4203-81EE-7FE5154156F8}"/>
              </a:ext>
            </a:extLst>
          </p:cNvPr>
          <p:cNvSpPr/>
          <p:nvPr/>
        </p:nvSpPr>
        <p:spPr>
          <a:xfrm>
            <a:off x="3533536" y="3441272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RESA</a:t>
            </a:r>
          </a:p>
        </p:txBody>
      </p:sp>
      <p:sp>
        <p:nvSpPr>
          <p:cNvPr id="378" name="Rectangle: Top Corners Rounded 377">
            <a:extLst>
              <a:ext uri="{FF2B5EF4-FFF2-40B4-BE49-F238E27FC236}">
                <a16:creationId xmlns:a16="http://schemas.microsoft.com/office/drawing/2014/main" id="{D526E1AD-ED11-4467-828A-076124FF5E6B}"/>
              </a:ext>
            </a:extLst>
          </p:cNvPr>
          <p:cNvSpPr/>
          <p:nvPr/>
        </p:nvSpPr>
        <p:spPr>
          <a:xfrm>
            <a:off x="4216254" y="3441272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379" name="Rectangle: Top Corners Rounded 378">
            <a:extLst>
              <a:ext uri="{FF2B5EF4-FFF2-40B4-BE49-F238E27FC236}">
                <a16:creationId xmlns:a16="http://schemas.microsoft.com/office/drawing/2014/main" id="{7B516388-2C23-4B32-8ED5-0E69B6DF786A}"/>
              </a:ext>
            </a:extLst>
          </p:cNvPr>
          <p:cNvSpPr/>
          <p:nvPr/>
        </p:nvSpPr>
        <p:spPr>
          <a:xfrm>
            <a:off x="3874895" y="3441272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</a:t>
            </a:r>
          </a:p>
        </p:txBody>
      </p:sp>
      <p:sp>
        <p:nvSpPr>
          <p:cNvPr id="380" name="Rectangle: Top Corners Rounded 379">
            <a:extLst>
              <a:ext uri="{FF2B5EF4-FFF2-40B4-BE49-F238E27FC236}">
                <a16:creationId xmlns:a16="http://schemas.microsoft.com/office/drawing/2014/main" id="{795F88A9-0DA8-429B-8677-A7F0A04215ED}"/>
              </a:ext>
            </a:extLst>
          </p:cNvPr>
          <p:cNvSpPr/>
          <p:nvPr/>
        </p:nvSpPr>
        <p:spPr>
          <a:xfrm>
            <a:off x="4557615" y="3441272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</a:t>
            </a:r>
          </a:p>
        </p:txBody>
      </p:sp>
      <p:sp>
        <p:nvSpPr>
          <p:cNvPr id="381" name="Rectangle: Top Corners Rounded 380">
            <a:extLst>
              <a:ext uri="{FF2B5EF4-FFF2-40B4-BE49-F238E27FC236}">
                <a16:creationId xmlns:a16="http://schemas.microsoft.com/office/drawing/2014/main" id="{50A6E88B-977F-4551-B821-C1F46D2F963E}"/>
              </a:ext>
            </a:extLst>
          </p:cNvPr>
          <p:cNvSpPr/>
          <p:nvPr/>
        </p:nvSpPr>
        <p:spPr>
          <a:xfrm>
            <a:off x="3192177" y="3874378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</a:t>
            </a:r>
          </a:p>
        </p:txBody>
      </p:sp>
      <p:sp>
        <p:nvSpPr>
          <p:cNvPr id="382" name="Rectangle: Top Corners Rounded 381">
            <a:extLst>
              <a:ext uri="{FF2B5EF4-FFF2-40B4-BE49-F238E27FC236}">
                <a16:creationId xmlns:a16="http://schemas.microsoft.com/office/drawing/2014/main" id="{71324D21-23D3-451D-8FE0-EFF9746BC037}"/>
              </a:ext>
            </a:extLst>
          </p:cNvPr>
          <p:cNvSpPr/>
          <p:nvPr/>
        </p:nvSpPr>
        <p:spPr>
          <a:xfrm>
            <a:off x="3533536" y="3874378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RESA</a:t>
            </a:r>
          </a:p>
        </p:txBody>
      </p:sp>
      <p:sp>
        <p:nvSpPr>
          <p:cNvPr id="383" name="Rectangle: Top Corners Rounded 382">
            <a:extLst>
              <a:ext uri="{FF2B5EF4-FFF2-40B4-BE49-F238E27FC236}">
                <a16:creationId xmlns:a16="http://schemas.microsoft.com/office/drawing/2014/main" id="{D26A4D9D-E405-4D8B-9D00-FC54D505924A}"/>
              </a:ext>
            </a:extLst>
          </p:cNvPr>
          <p:cNvSpPr/>
          <p:nvPr/>
        </p:nvSpPr>
        <p:spPr>
          <a:xfrm>
            <a:off x="4216254" y="3874378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384" name="Rectangle: Top Corners Rounded 383">
            <a:extLst>
              <a:ext uri="{FF2B5EF4-FFF2-40B4-BE49-F238E27FC236}">
                <a16:creationId xmlns:a16="http://schemas.microsoft.com/office/drawing/2014/main" id="{9B2E3D4E-4CCB-46A7-953E-C822070E9AD8}"/>
              </a:ext>
            </a:extLst>
          </p:cNvPr>
          <p:cNvSpPr/>
          <p:nvPr/>
        </p:nvSpPr>
        <p:spPr>
          <a:xfrm>
            <a:off x="3874895" y="3874378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</a:t>
            </a:r>
          </a:p>
        </p:txBody>
      </p:sp>
      <p:sp>
        <p:nvSpPr>
          <p:cNvPr id="385" name="Rectangle: Top Corners Rounded 384">
            <a:extLst>
              <a:ext uri="{FF2B5EF4-FFF2-40B4-BE49-F238E27FC236}">
                <a16:creationId xmlns:a16="http://schemas.microsoft.com/office/drawing/2014/main" id="{0F2847A3-C9A5-432B-A9C1-1AFF84302F36}"/>
              </a:ext>
            </a:extLst>
          </p:cNvPr>
          <p:cNvSpPr/>
          <p:nvPr/>
        </p:nvSpPr>
        <p:spPr>
          <a:xfrm>
            <a:off x="4557615" y="3874378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</a:t>
            </a:r>
          </a:p>
        </p:txBody>
      </p:sp>
      <p:sp>
        <p:nvSpPr>
          <p:cNvPr id="386" name="Rectangle: Top Corners Rounded 385">
            <a:extLst>
              <a:ext uri="{FF2B5EF4-FFF2-40B4-BE49-F238E27FC236}">
                <a16:creationId xmlns:a16="http://schemas.microsoft.com/office/drawing/2014/main" id="{29934015-0783-4C82-90CD-C9DDF38C516A}"/>
              </a:ext>
            </a:extLst>
          </p:cNvPr>
          <p:cNvSpPr/>
          <p:nvPr/>
        </p:nvSpPr>
        <p:spPr>
          <a:xfrm>
            <a:off x="3192177" y="4303880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</a:t>
            </a:r>
          </a:p>
        </p:txBody>
      </p:sp>
      <p:sp>
        <p:nvSpPr>
          <p:cNvPr id="387" name="Rectangle: Top Corners Rounded 386">
            <a:extLst>
              <a:ext uri="{FF2B5EF4-FFF2-40B4-BE49-F238E27FC236}">
                <a16:creationId xmlns:a16="http://schemas.microsoft.com/office/drawing/2014/main" id="{81A9D137-0DAC-4CF5-BF98-C84D061C96C4}"/>
              </a:ext>
            </a:extLst>
          </p:cNvPr>
          <p:cNvSpPr/>
          <p:nvPr/>
        </p:nvSpPr>
        <p:spPr>
          <a:xfrm>
            <a:off x="3533536" y="4303880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RESA</a:t>
            </a:r>
          </a:p>
        </p:txBody>
      </p:sp>
      <p:sp>
        <p:nvSpPr>
          <p:cNvPr id="388" name="Rectangle: Top Corners Rounded 387">
            <a:extLst>
              <a:ext uri="{FF2B5EF4-FFF2-40B4-BE49-F238E27FC236}">
                <a16:creationId xmlns:a16="http://schemas.microsoft.com/office/drawing/2014/main" id="{9AC78ACD-9148-4B45-BDC5-38364B2FE039}"/>
              </a:ext>
            </a:extLst>
          </p:cNvPr>
          <p:cNvSpPr/>
          <p:nvPr/>
        </p:nvSpPr>
        <p:spPr>
          <a:xfrm>
            <a:off x="4216254" y="4303880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389" name="Rectangle: Top Corners Rounded 388">
            <a:extLst>
              <a:ext uri="{FF2B5EF4-FFF2-40B4-BE49-F238E27FC236}">
                <a16:creationId xmlns:a16="http://schemas.microsoft.com/office/drawing/2014/main" id="{5FA90BD8-EC11-48FD-9744-9FC9CAACCD95}"/>
              </a:ext>
            </a:extLst>
          </p:cNvPr>
          <p:cNvSpPr/>
          <p:nvPr/>
        </p:nvSpPr>
        <p:spPr>
          <a:xfrm>
            <a:off x="3874895" y="4303880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</a:t>
            </a:r>
          </a:p>
        </p:txBody>
      </p:sp>
      <p:sp>
        <p:nvSpPr>
          <p:cNvPr id="390" name="Rectangle: Top Corners Rounded 389">
            <a:extLst>
              <a:ext uri="{FF2B5EF4-FFF2-40B4-BE49-F238E27FC236}">
                <a16:creationId xmlns:a16="http://schemas.microsoft.com/office/drawing/2014/main" id="{79E382C1-11BD-44E8-A05C-006683F128C6}"/>
              </a:ext>
            </a:extLst>
          </p:cNvPr>
          <p:cNvSpPr/>
          <p:nvPr/>
        </p:nvSpPr>
        <p:spPr>
          <a:xfrm>
            <a:off x="4557615" y="4303880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</a:t>
            </a:r>
          </a:p>
        </p:txBody>
      </p:sp>
      <p:cxnSp>
        <p:nvCxnSpPr>
          <p:cNvPr id="431" name="Straight Arrow Connector 430">
            <a:extLst>
              <a:ext uri="{FF2B5EF4-FFF2-40B4-BE49-F238E27FC236}">
                <a16:creationId xmlns:a16="http://schemas.microsoft.com/office/drawing/2014/main" id="{28EBBA0D-185D-4752-908E-8DE157785084}"/>
              </a:ext>
            </a:extLst>
          </p:cNvPr>
          <p:cNvCxnSpPr>
            <a:cxnSpLocks/>
            <a:stCxn id="32" idx="0"/>
            <a:endCxn id="80" idx="2"/>
          </p:cNvCxnSpPr>
          <p:nvPr/>
        </p:nvCxnSpPr>
        <p:spPr>
          <a:xfrm>
            <a:off x="7818835" y="3688230"/>
            <a:ext cx="248456" cy="3281"/>
          </a:xfrm>
          <a:prstGeom prst="straightConnector1">
            <a:avLst/>
          </a:prstGeom>
          <a:noFill/>
          <a:ln w="25400" cap="flat">
            <a:solidFill>
              <a:schemeClr val="bg1"/>
            </a:solidFill>
            <a:prstDash val="solid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32" name="Straight Arrow Connector 431">
            <a:extLst>
              <a:ext uri="{FF2B5EF4-FFF2-40B4-BE49-F238E27FC236}">
                <a16:creationId xmlns:a16="http://schemas.microsoft.com/office/drawing/2014/main" id="{B6CF0C00-E0A6-4EBD-8217-CDE407D4E9D6}"/>
              </a:ext>
            </a:extLst>
          </p:cNvPr>
          <p:cNvCxnSpPr>
            <a:cxnSpLocks/>
            <a:endCxn id="82" idx="2"/>
          </p:cNvCxnSpPr>
          <p:nvPr/>
        </p:nvCxnSpPr>
        <p:spPr>
          <a:xfrm flipV="1">
            <a:off x="7787111" y="1682266"/>
            <a:ext cx="232217" cy="10568"/>
          </a:xfrm>
          <a:prstGeom prst="straightConnector1">
            <a:avLst/>
          </a:prstGeom>
          <a:noFill/>
          <a:ln w="25400" cap="flat">
            <a:solidFill>
              <a:schemeClr val="bg1"/>
            </a:solidFill>
            <a:prstDash val="solid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C5C2964-F417-41BE-AD3D-0528A65F2640}"/>
              </a:ext>
            </a:extLst>
          </p:cNvPr>
          <p:cNvCxnSpPr/>
          <p:nvPr/>
        </p:nvCxnSpPr>
        <p:spPr>
          <a:xfrm>
            <a:off x="10191098" y="1977932"/>
            <a:ext cx="217519" cy="0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AB4DE747-A1F0-442F-8C84-4CF1A8D417AC}"/>
              </a:ext>
            </a:extLst>
          </p:cNvPr>
          <p:cNvCxnSpPr/>
          <p:nvPr/>
        </p:nvCxnSpPr>
        <p:spPr>
          <a:xfrm>
            <a:off x="10191098" y="2617737"/>
            <a:ext cx="217519" cy="0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48FB3A59-10CD-4D80-8CA8-0417A4B87689}"/>
              </a:ext>
            </a:extLst>
          </p:cNvPr>
          <p:cNvCxnSpPr/>
          <p:nvPr/>
        </p:nvCxnSpPr>
        <p:spPr>
          <a:xfrm>
            <a:off x="10191098" y="3297551"/>
            <a:ext cx="217519" cy="0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17584DA8-759B-4796-BF13-FC43D4B18333}"/>
              </a:ext>
            </a:extLst>
          </p:cNvPr>
          <p:cNvCxnSpPr/>
          <p:nvPr/>
        </p:nvCxnSpPr>
        <p:spPr>
          <a:xfrm>
            <a:off x="10191098" y="3953464"/>
            <a:ext cx="217519" cy="0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43AFCF7D-8BB4-4B9F-8FA7-C6F2BAF0D858}"/>
              </a:ext>
            </a:extLst>
          </p:cNvPr>
          <p:cNvCxnSpPr>
            <a:cxnSpLocks/>
          </p:cNvCxnSpPr>
          <p:nvPr/>
        </p:nvCxnSpPr>
        <p:spPr>
          <a:xfrm flipH="1">
            <a:off x="10191098" y="2061524"/>
            <a:ext cx="217519" cy="0"/>
          </a:xfrm>
          <a:prstGeom prst="straightConnector1">
            <a:avLst/>
          </a:prstGeom>
          <a:noFill/>
          <a:ln w="25400" cap="flat">
            <a:solidFill>
              <a:srgbClr val="5866D9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99EC08CC-6382-4FA2-AB0A-1210EEE3B0EC}"/>
              </a:ext>
            </a:extLst>
          </p:cNvPr>
          <p:cNvCxnSpPr>
            <a:cxnSpLocks/>
          </p:cNvCxnSpPr>
          <p:nvPr/>
        </p:nvCxnSpPr>
        <p:spPr>
          <a:xfrm flipH="1">
            <a:off x="10191098" y="2709437"/>
            <a:ext cx="217519" cy="0"/>
          </a:xfrm>
          <a:prstGeom prst="straightConnector1">
            <a:avLst/>
          </a:prstGeom>
          <a:noFill/>
          <a:ln w="25400" cap="flat">
            <a:solidFill>
              <a:srgbClr val="5866D9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50679DDC-9562-4720-89CB-CBC0BC0754AC}"/>
              </a:ext>
            </a:extLst>
          </p:cNvPr>
          <p:cNvCxnSpPr>
            <a:cxnSpLocks/>
          </p:cNvCxnSpPr>
          <p:nvPr/>
        </p:nvCxnSpPr>
        <p:spPr>
          <a:xfrm flipH="1">
            <a:off x="10191098" y="3389251"/>
            <a:ext cx="217519" cy="0"/>
          </a:xfrm>
          <a:prstGeom prst="straightConnector1">
            <a:avLst/>
          </a:prstGeom>
          <a:noFill/>
          <a:ln w="25400" cap="flat">
            <a:solidFill>
              <a:srgbClr val="5866D9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316D6417-03E9-4043-B8D0-1FA1850ECC8A}"/>
              </a:ext>
            </a:extLst>
          </p:cNvPr>
          <p:cNvCxnSpPr>
            <a:cxnSpLocks/>
          </p:cNvCxnSpPr>
          <p:nvPr/>
        </p:nvCxnSpPr>
        <p:spPr>
          <a:xfrm flipH="1">
            <a:off x="10191098" y="4045164"/>
            <a:ext cx="217519" cy="0"/>
          </a:xfrm>
          <a:prstGeom prst="straightConnector1">
            <a:avLst/>
          </a:prstGeom>
          <a:noFill/>
          <a:ln w="25400" cap="flat">
            <a:solidFill>
              <a:srgbClr val="5866D9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6C453CD8-565C-4441-BDD3-2ADFEAB397D2}"/>
              </a:ext>
            </a:extLst>
          </p:cNvPr>
          <p:cNvCxnSpPr>
            <a:cxnSpLocks/>
          </p:cNvCxnSpPr>
          <p:nvPr/>
        </p:nvCxnSpPr>
        <p:spPr>
          <a:xfrm>
            <a:off x="8717530" y="2987566"/>
            <a:ext cx="1160557" cy="0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19AEAA04-87B7-4754-A614-5E4A245FDD82}"/>
              </a:ext>
            </a:extLst>
          </p:cNvPr>
          <p:cNvCxnSpPr>
            <a:cxnSpLocks/>
          </p:cNvCxnSpPr>
          <p:nvPr/>
        </p:nvCxnSpPr>
        <p:spPr>
          <a:xfrm>
            <a:off x="8685806" y="1677020"/>
            <a:ext cx="1192281" cy="0"/>
          </a:xfrm>
          <a:prstGeom prst="straightConnector1">
            <a:avLst/>
          </a:prstGeom>
          <a:noFill/>
          <a:ln w="25400" cap="flat">
            <a:solidFill>
              <a:srgbClr val="FFC000"/>
            </a:solidFill>
            <a:prstDash val="solid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59" name="Graphic 7" descr="Database outline">
            <a:extLst>
              <a:ext uri="{FF2B5EF4-FFF2-40B4-BE49-F238E27FC236}">
                <a16:creationId xmlns:a16="http://schemas.microsoft.com/office/drawing/2014/main" id="{83349EA1-0CF4-4C99-A6ED-4CCBB7F584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5703" y="2239662"/>
            <a:ext cx="231962" cy="231962"/>
          </a:xfrm>
          <a:prstGeom prst="rect">
            <a:avLst/>
          </a:prstGeom>
        </p:spPr>
      </p:pic>
      <p:sp>
        <p:nvSpPr>
          <p:cNvPr id="32" name="Rectangle: Rounded Corners 36">
            <a:extLst>
              <a:ext uri="{FF2B5EF4-FFF2-40B4-BE49-F238E27FC236}">
                <a16:creationId xmlns:a16="http://schemas.microsoft.com/office/drawing/2014/main" id="{6E2BC308-587F-499C-8375-17DD26B914DF}"/>
              </a:ext>
            </a:extLst>
          </p:cNvPr>
          <p:cNvSpPr/>
          <p:nvPr/>
        </p:nvSpPr>
        <p:spPr>
          <a:xfrm>
            <a:off x="6317632" y="2090507"/>
            <a:ext cx="1501203" cy="3195446"/>
          </a:xfrm>
          <a:prstGeom prst="round2Same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t" anchorCtr="0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ADAPTATEURS </a:t>
            </a:r>
            <a:r>
              <a:rPr kumimoji="0" lang="fr-FR" sz="10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MSPs</a:t>
            </a:r>
            <a:endParaRPr kumimoji="0" lang="fr-FR" sz="1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69" name="Rectangle: Rounded Corners 35">
            <a:extLst>
              <a:ext uri="{FF2B5EF4-FFF2-40B4-BE49-F238E27FC236}">
                <a16:creationId xmlns:a16="http://schemas.microsoft.com/office/drawing/2014/main" id="{5ADEE0E9-8407-41B3-98D9-0808EB9F85E3}"/>
              </a:ext>
            </a:extLst>
          </p:cNvPr>
          <p:cNvSpPr/>
          <p:nvPr/>
        </p:nvSpPr>
        <p:spPr>
          <a:xfrm>
            <a:off x="6629165" y="2375949"/>
            <a:ext cx="878138" cy="325244"/>
          </a:xfrm>
          <a:prstGeom prst="snip2Diag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Adaptateu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Stationnement</a:t>
            </a:r>
          </a:p>
        </p:txBody>
      </p:sp>
      <p:sp>
        <p:nvSpPr>
          <p:cNvPr id="70" name="Rectangle: Rounded Corners 35">
            <a:extLst>
              <a:ext uri="{FF2B5EF4-FFF2-40B4-BE49-F238E27FC236}">
                <a16:creationId xmlns:a16="http://schemas.microsoft.com/office/drawing/2014/main" id="{94793084-0A20-4080-A8E1-372ABD262EAE}"/>
              </a:ext>
            </a:extLst>
          </p:cNvPr>
          <p:cNvSpPr/>
          <p:nvPr/>
        </p:nvSpPr>
        <p:spPr>
          <a:xfrm>
            <a:off x="6629165" y="2809757"/>
            <a:ext cx="878138" cy="325244"/>
          </a:xfrm>
          <a:prstGeom prst="snip2Diag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Adaptateu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Autopartage</a:t>
            </a:r>
          </a:p>
        </p:txBody>
      </p:sp>
      <p:sp>
        <p:nvSpPr>
          <p:cNvPr id="71" name="Rectangle: Rounded Corners 35">
            <a:extLst>
              <a:ext uri="{FF2B5EF4-FFF2-40B4-BE49-F238E27FC236}">
                <a16:creationId xmlns:a16="http://schemas.microsoft.com/office/drawing/2014/main" id="{568F6B0C-99C0-47CD-A64B-AC755A15CB9B}"/>
              </a:ext>
            </a:extLst>
          </p:cNvPr>
          <p:cNvSpPr/>
          <p:nvPr/>
        </p:nvSpPr>
        <p:spPr>
          <a:xfrm>
            <a:off x="6629165" y="3243565"/>
            <a:ext cx="878138" cy="325244"/>
          </a:xfrm>
          <a:prstGeom prst="snip2Diag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Adaptateu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Freefloating</a:t>
            </a:r>
            <a:endParaRPr kumimoji="0" lang="fr-FR" sz="700" b="1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Corbel" panose="020B0503020204020204" pitchFamily="34" charset="0"/>
              <a:cs typeface="Arial"/>
              <a:sym typeface="Arial"/>
            </a:endParaRPr>
          </a:p>
        </p:txBody>
      </p:sp>
      <p:sp>
        <p:nvSpPr>
          <p:cNvPr id="72" name="Rectangle: Rounded Corners 35">
            <a:extLst>
              <a:ext uri="{FF2B5EF4-FFF2-40B4-BE49-F238E27FC236}">
                <a16:creationId xmlns:a16="http://schemas.microsoft.com/office/drawing/2014/main" id="{688AB6A9-5996-42D8-B4ED-A20E2D96CD21}"/>
              </a:ext>
            </a:extLst>
          </p:cNvPr>
          <p:cNvSpPr/>
          <p:nvPr/>
        </p:nvSpPr>
        <p:spPr>
          <a:xfrm>
            <a:off x="6629165" y="3677374"/>
            <a:ext cx="878138" cy="325244"/>
          </a:xfrm>
          <a:prstGeom prst="snip2Diag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Adaptateu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Covoiturage</a:t>
            </a:r>
          </a:p>
        </p:txBody>
      </p:sp>
      <p:sp>
        <p:nvSpPr>
          <p:cNvPr id="73" name="Rectangle: Rounded Corners 35">
            <a:extLst>
              <a:ext uri="{FF2B5EF4-FFF2-40B4-BE49-F238E27FC236}">
                <a16:creationId xmlns:a16="http://schemas.microsoft.com/office/drawing/2014/main" id="{0EBF954E-90C2-4DC4-BA51-DF6C2516EBDE}"/>
              </a:ext>
            </a:extLst>
          </p:cNvPr>
          <p:cNvSpPr/>
          <p:nvPr/>
        </p:nvSpPr>
        <p:spPr>
          <a:xfrm>
            <a:off x="6629165" y="4111181"/>
            <a:ext cx="878138" cy="325244"/>
          </a:xfrm>
          <a:prstGeom prst="snip2Diag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Adaptateu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Taxi / VTC</a:t>
            </a:r>
          </a:p>
        </p:txBody>
      </p: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112DF81B-B691-458D-AD0B-E28CBF2E6DAC}"/>
              </a:ext>
            </a:extLst>
          </p:cNvPr>
          <p:cNvCxnSpPr>
            <a:cxnSpLocks/>
          </p:cNvCxnSpPr>
          <p:nvPr/>
        </p:nvCxnSpPr>
        <p:spPr>
          <a:xfrm>
            <a:off x="4853891" y="2497305"/>
            <a:ext cx="1764000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3642D996-5695-4F11-9321-874F30DED8E3}"/>
              </a:ext>
            </a:extLst>
          </p:cNvPr>
          <p:cNvCxnSpPr>
            <a:cxnSpLocks/>
          </p:cNvCxnSpPr>
          <p:nvPr/>
        </p:nvCxnSpPr>
        <p:spPr>
          <a:xfrm>
            <a:off x="4853891" y="2579836"/>
            <a:ext cx="1764000" cy="0"/>
          </a:xfrm>
          <a:prstGeom prst="line">
            <a:avLst/>
          </a:prstGeom>
          <a:noFill/>
          <a:ln w="25400" cap="flat">
            <a:solidFill>
              <a:schemeClr val="accent6"/>
            </a:solidFill>
            <a:prstDash val="sysDot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596690DA-9D9D-44E6-A37D-133449EDEEF1}"/>
              </a:ext>
            </a:extLst>
          </p:cNvPr>
          <p:cNvCxnSpPr>
            <a:cxnSpLocks/>
          </p:cNvCxnSpPr>
          <p:nvPr/>
        </p:nvCxnSpPr>
        <p:spPr>
          <a:xfrm>
            <a:off x="4858090" y="2931113"/>
            <a:ext cx="1764000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DA0769B9-CF10-472F-9DDB-5853A3D2B749}"/>
              </a:ext>
            </a:extLst>
          </p:cNvPr>
          <p:cNvCxnSpPr>
            <a:cxnSpLocks/>
          </p:cNvCxnSpPr>
          <p:nvPr/>
        </p:nvCxnSpPr>
        <p:spPr>
          <a:xfrm>
            <a:off x="4858090" y="3013644"/>
            <a:ext cx="1764000" cy="0"/>
          </a:xfrm>
          <a:prstGeom prst="line">
            <a:avLst/>
          </a:prstGeom>
          <a:noFill/>
          <a:ln w="25400" cap="flat">
            <a:solidFill>
              <a:schemeClr val="accent6"/>
            </a:solidFill>
            <a:prstDash val="sysDot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666E058E-0DD7-40E3-92D7-0CE338297915}"/>
              </a:ext>
            </a:extLst>
          </p:cNvPr>
          <p:cNvCxnSpPr>
            <a:cxnSpLocks/>
          </p:cNvCxnSpPr>
          <p:nvPr/>
        </p:nvCxnSpPr>
        <p:spPr>
          <a:xfrm>
            <a:off x="4859902" y="3364921"/>
            <a:ext cx="1764000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38E5D8E2-CC7B-4DDE-BA65-5C7771684159}"/>
              </a:ext>
            </a:extLst>
          </p:cNvPr>
          <p:cNvCxnSpPr>
            <a:cxnSpLocks/>
          </p:cNvCxnSpPr>
          <p:nvPr/>
        </p:nvCxnSpPr>
        <p:spPr>
          <a:xfrm>
            <a:off x="4859902" y="3447452"/>
            <a:ext cx="1764000" cy="0"/>
          </a:xfrm>
          <a:prstGeom prst="line">
            <a:avLst/>
          </a:prstGeom>
          <a:noFill/>
          <a:ln w="25400" cap="flat">
            <a:solidFill>
              <a:schemeClr val="accent6"/>
            </a:solidFill>
            <a:prstDash val="sysDot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D6375DF5-7C0E-4545-A0F8-9973A2C32332}"/>
              </a:ext>
            </a:extLst>
          </p:cNvPr>
          <p:cNvCxnSpPr>
            <a:cxnSpLocks/>
          </p:cNvCxnSpPr>
          <p:nvPr/>
        </p:nvCxnSpPr>
        <p:spPr>
          <a:xfrm>
            <a:off x="4861714" y="3798730"/>
            <a:ext cx="1764000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4CD7DCEC-17CC-4FF6-8C71-ECD41DB4F93E}"/>
              </a:ext>
            </a:extLst>
          </p:cNvPr>
          <p:cNvCxnSpPr>
            <a:cxnSpLocks/>
          </p:cNvCxnSpPr>
          <p:nvPr/>
        </p:nvCxnSpPr>
        <p:spPr>
          <a:xfrm>
            <a:off x="4861714" y="3881261"/>
            <a:ext cx="1764000" cy="0"/>
          </a:xfrm>
          <a:prstGeom prst="line">
            <a:avLst/>
          </a:prstGeom>
          <a:noFill/>
          <a:ln w="25400" cap="flat">
            <a:solidFill>
              <a:schemeClr val="accent6"/>
            </a:solidFill>
            <a:prstDash val="sysDot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E12BD571-74DD-44C6-9E87-DC7866FF6048}"/>
              </a:ext>
            </a:extLst>
          </p:cNvPr>
          <p:cNvCxnSpPr>
            <a:cxnSpLocks/>
          </p:cNvCxnSpPr>
          <p:nvPr/>
        </p:nvCxnSpPr>
        <p:spPr>
          <a:xfrm>
            <a:off x="4863526" y="4232537"/>
            <a:ext cx="1764000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7585C941-50DB-4226-965D-301D8BF9B6C5}"/>
              </a:ext>
            </a:extLst>
          </p:cNvPr>
          <p:cNvCxnSpPr>
            <a:cxnSpLocks/>
          </p:cNvCxnSpPr>
          <p:nvPr/>
        </p:nvCxnSpPr>
        <p:spPr>
          <a:xfrm>
            <a:off x="4863526" y="4315068"/>
            <a:ext cx="1764000" cy="0"/>
          </a:xfrm>
          <a:prstGeom prst="line">
            <a:avLst/>
          </a:prstGeom>
          <a:noFill/>
          <a:ln w="25400" cap="flat">
            <a:solidFill>
              <a:schemeClr val="accent6"/>
            </a:solidFill>
            <a:prstDash val="sysDot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1" name="Rectangle: Rounded Corners 36">
            <a:extLst>
              <a:ext uri="{FF2B5EF4-FFF2-40B4-BE49-F238E27FC236}">
                <a16:creationId xmlns:a16="http://schemas.microsoft.com/office/drawing/2014/main" id="{782F3EA7-9F5A-4666-8F39-CA11BDE397B9}"/>
              </a:ext>
            </a:extLst>
          </p:cNvPr>
          <p:cNvSpPr/>
          <p:nvPr/>
        </p:nvSpPr>
        <p:spPr>
          <a:xfrm>
            <a:off x="8108347" y="3953828"/>
            <a:ext cx="572982" cy="302930"/>
          </a:xfrm>
          <a:prstGeom prst="round2SameRect">
            <a:avLst/>
          </a:prstGeom>
          <a:solidFill>
            <a:srgbClr val="66C7FF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pic>
        <p:nvPicPr>
          <p:cNvPr id="162" name="Graphic 7" descr="Database outline">
            <a:extLst>
              <a:ext uri="{FF2B5EF4-FFF2-40B4-BE49-F238E27FC236}">
                <a16:creationId xmlns:a16="http://schemas.microsoft.com/office/drawing/2014/main" id="{FC5E1166-F46B-4376-BDA3-C37D7F0D16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76430" y="3989312"/>
            <a:ext cx="231962" cy="231962"/>
          </a:xfrm>
          <a:prstGeom prst="rect">
            <a:avLst/>
          </a:prstGeom>
        </p:spPr>
      </p:pic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3E6FBB07-09D3-4E82-8350-03A497D9D6A2}"/>
              </a:ext>
            </a:extLst>
          </p:cNvPr>
          <p:cNvCxnSpPr>
            <a:cxnSpLocks/>
          </p:cNvCxnSpPr>
          <p:nvPr/>
        </p:nvCxnSpPr>
        <p:spPr>
          <a:xfrm flipH="1">
            <a:off x="8754137" y="4142083"/>
            <a:ext cx="1123950" cy="0"/>
          </a:xfrm>
          <a:prstGeom prst="straightConnector1">
            <a:avLst/>
          </a:prstGeom>
          <a:noFill/>
          <a:ln w="25400" cap="flat">
            <a:solidFill>
              <a:srgbClr val="5866D9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6" name="Rectangle: Rounded Corners 35">
            <a:extLst>
              <a:ext uri="{FF2B5EF4-FFF2-40B4-BE49-F238E27FC236}">
                <a16:creationId xmlns:a16="http://schemas.microsoft.com/office/drawing/2014/main" id="{F6110672-C98E-4D1C-866A-0899FF53B86D}"/>
              </a:ext>
            </a:extLst>
          </p:cNvPr>
          <p:cNvSpPr/>
          <p:nvPr/>
        </p:nvSpPr>
        <p:spPr>
          <a:xfrm>
            <a:off x="3147372" y="4598297"/>
            <a:ext cx="1744009" cy="36317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Transports en commun</a:t>
            </a:r>
          </a:p>
        </p:txBody>
      </p:sp>
      <p:sp>
        <p:nvSpPr>
          <p:cNvPr id="147" name="Rectangle: Top Corners Rounded 146">
            <a:extLst>
              <a:ext uri="{FF2B5EF4-FFF2-40B4-BE49-F238E27FC236}">
                <a16:creationId xmlns:a16="http://schemas.microsoft.com/office/drawing/2014/main" id="{68D97EF1-4978-4E01-B972-ABE9BF870250}"/>
              </a:ext>
            </a:extLst>
          </p:cNvPr>
          <p:cNvSpPr/>
          <p:nvPr/>
        </p:nvSpPr>
        <p:spPr>
          <a:xfrm>
            <a:off x="3192177" y="4750553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RI</a:t>
            </a:r>
          </a:p>
        </p:txBody>
      </p:sp>
      <p:sp>
        <p:nvSpPr>
          <p:cNvPr id="148" name="Rectangle: Top Corners Rounded 147">
            <a:extLst>
              <a:ext uri="{FF2B5EF4-FFF2-40B4-BE49-F238E27FC236}">
                <a16:creationId xmlns:a16="http://schemas.microsoft.com/office/drawing/2014/main" id="{8D4A7F67-A2C0-45A2-8E2C-5DA098AF16BB}"/>
              </a:ext>
            </a:extLst>
          </p:cNvPr>
          <p:cNvSpPr/>
          <p:nvPr/>
        </p:nvSpPr>
        <p:spPr>
          <a:xfrm>
            <a:off x="3533536" y="4750553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RESA</a:t>
            </a:r>
          </a:p>
        </p:txBody>
      </p:sp>
      <p:sp>
        <p:nvSpPr>
          <p:cNvPr id="149" name="Rectangle: Top Corners Rounded 148">
            <a:extLst>
              <a:ext uri="{FF2B5EF4-FFF2-40B4-BE49-F238E27FC236}">
                <a16:creationId xmlns:a16="http://schemas.microsoft.com/office/drawing/2014/main" id="{988D7C13-37D3-46A4-9311-1EA643C54E99}"/>
              </a:ext>
            </a:extLst>
          </p:cNvPr>
          <p:cNvSpPr/>
          <p:nvPr/>
        </p:nvSpPr>
        <p:spPr>
          <a:xfrm>
            <a:off x="4216254" y="4750553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150" name="Rectangle: Top Corners Rounded 149">
            <a:extLst>
              <a:ext uri="{FF2B5EF4-FFF2-40B4-BE49-F238E27FC236}">
                <a16:creationId xmlns:a16="http://schemas.microsoft.com/office/drawing/2014/main" id="{37437C04-BD5D-4805-9D0E-AFFD4031E2D3}"/>
              </a:ext>
            </a:extLst>
          </p:cNvPr>
          <p:cNvSpPr/>
          <p:nvPr/>
        </p:nvSpPr>
        <p:spPr>
          <a:xfrm>
            <a:off x="3874895" y="4750553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</a:t>
            </a:r>
          </a:p>
        </p:txBody>
      </p:sp>
      <p:sp>
        <p:nvSpPr>
          <p:cNvPr id="151" name="Rectangle: Top Corners Rounded 150">
            <a:extLst>
              <a:ext uri="{FF2B5EF4-FFF2-40B4-BE49-F238E27FC236}">
                <a16:creationId xmlns:a16="http://schemas.microsoft.com/office/drawing/2014/main" id="{F27A7C44-7970-4511-9F53-21CC65CEE8F3}"/>
              </a:ext>
            </a:extLst>
          </p:cNvPr>
          <p:cNvSpPr/>
          <p:nvPr/>
        </p:nvSpPr>
        <p:spPr>
          <a:xfrm>
            <a:off x="4557615" y="4750553"/>
            <a:ext cx="282793" cy="157631"/>
          </a:xfrm>
          <a:prstGeom prst="round2SameRect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</a:t>
            </a:r>
          </a:p>
        </p:txBody>
      </p:sp>
      <p:sp>
        <p:nvSpPr>
          <p:cNvPr id="143" name="Rectangle: Rounded Corners 35">
            <a:extLst>
              <a:ext uri="{FF2B5EF4-FFF2-40B4-BE49-F238E27FC236}">
                <a16:creationId xmlns:a16="http://schemas.microsoft.com/office/drawing/2014/main" id="{86588204-E274-45C6-8403-8C0186C28766}"/>
              </a:ext>
            </a:extLst>
          </p:cNvPr>
          <p:cNvSpPr/>
          <p:nvPr/>
        </p:nvSpPr>
        <p:spPr>
          <a:xfrm>
            <a:off x="6615945" y="4615782"/>
            <a:ext cx="878138" cy="325244"/>
          </a:xfrm>
          <a:prstGeom prst="snip2Diag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Adaptateu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/>
                <a:sym typeface="Arial"/>
              </a:rPr>
              <a:t>Taxi / VTC</a:t>
            </a: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9BC46C75-4995-432C-B660-ED86DA092720}"/>
              </a:ext>
            </a:extLst>
          </p:cNvPr>
          <p:cNvSpPr/>
          <p:nvPr/>
        </p:nvSpPr>
        <p:spPr>
          <a:xfrm>
            <a:off x="6614554" y="684708"/>
            <a:ext cx="1682267" cy="453212"/>
          </a:xfrm>
          <a:prstGeom prst="roundRect">
            <a:avLst/>
          </a:prstGeom>
          <a:solidFill>
            <a:srgbClr val="D5D5D5"/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orbel" panose="020B0503020204020204" pitchFamily="34" charset="0"/>
                <a:cs typeface="Arial" panose="020B0604020202020204" pitchFamily="34" charset="0"/>
                <a:sym typeface="Jost Medium"/>
              </a:rPr>
              <a:t>AOM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03001DE9-C6A5-45B5-9496-5239E5E2F082}"/>
              </a:ext>
            </a:extLst>
          </p:cNvPr>
          <p:cNvCxnSpPr>
            <a:cxnSpLocks/>
          </p:cNvCxnSpPr>
          <p:nvPr/>
        </p:nvCxnSpPr>
        <p:spPr>
          <a:xfrm>
            <a:off x="4850306" y="4737138"/>
            <a:ext cx="1764000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CF7FFE35-0C53-4403-B03C-B08A6017D01A}"/>
              </a:ext>
            </a:extLst>
          </p:cNvPr>
          <p:cNvCxnSpPr>
            <a:cxnSpLocks/>
          </p:cNvCxnSpPr>
          <p:nvPr/>
        </p:nvCxnSpPr>
        <p:spPr>
          <a:xfrm>
            <a:off x="4850306" y="4819669"/>
            <a:ext cx="1764000" cy="0"/>
          </a:xfrm>
          <a:prstGeom prst="line">
            <a:avLst/>
          </a:prstGeom>
          <a:noFill/>
          <a:ln w="25400" cap="flat">
            <a:solidFill>
              <a:schemeClr val="accent6"/>
            </a:solidFill>
            <a:prstDash val="sysDot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719918151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0E11C13-232E-40EF-AE7F-52084298EDE8}"/>
              </a:ext>
            </a:extLst>
          </p:cNvPr>
          <p:cNvSpPr/>
          <p:nvPr/>
        </p:nvSpPr>
        <p:spPr bwMode="auto">
          <a:xfrm>
            <a:off x="0" y="6066635"/>
            <a:ext cx="12192000" cy="702952"/>
          </a:xfrm>
          <a:prstGeom prst="rect">
            <a:avLst/>
          </a:prstGeom>
          <a:solidFill>
            <a:schemeClr val="bg1"/>
          </a:solidFill>
          <a:ln w="1270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fr-FR" sz="1050">
              <a:solidFill>
                <a:schemeClr val="tx1">
                  <a:lumMod val="50000"/>
                </a:scheme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CA7F66C-804F-4EE1-A3C8-F5BA9D1F46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88413"/>
            <a:ext cx="10377995" cy="840630"/>
          </a:xfrm>
        </p:spPr>
        <p:txBody>
          <a:bodyPr/>
          <a:lstStyle/>
          <a:p>
            <a:r>
              <a:rPr lang="fr-FR"/>
              <a:t>Scénario territorial 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6DF54A5-D58C-4CBA-9FC2-8C10B7DE888B}"/>
              </a:ext>
            </a:extLst>
          </p:cNvPr>
          <p:cNvSpPr/>
          <p:nvPr/>
        </p:nvSpPr>
        <p:spPr bwMode="auto">
          <a:xfrm>
            <a:off x="4578936" y="1414732"/>
            <a:ext cx="6247494" cy="3442120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 anchorCtr="0"/>
          <a:lstStyle/>
          <a:p>
            <a:pPr defTabSz="1219169" hangingPunct="0">
              <a:defRPr/>
            </a:pPr>
            <a:endParaRPr lang="fr-FR" sz="525" kern="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EADA09F-34CC-41C0-A144-3C9366084968}"/>
              </a:ext>
            </a:extLst>
          </p:cNvPr>
          <p:cNvSpPr/>
          <p:nvPr/>
        </p:nvSpPr>
        <p:spPr>
          <a:xfrm>
            <a:off x="321026" y="2027295"/>
            <a:ext cx="4042888" cy="2018581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t" anchorCtr="0">
            <a:noAutofit/>
          </a:bodyPr>
          <a:lstStyle/>
          <a:p>
            <a:pPr defTabSz="412750" hangingPunct="0">
              <a:defRPr/>
            </a:pPr>
            <a:r>
              <a:rPr lang="fr-FR" sz="1600" b="1" kern="0">
                <a:solidFill>
                  <a:srgbClr val="D5D5D5">
                    <a:lumMod val="25000"/>
                  </a:srgbClr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Editeur MaaS Collectivité</a:t>
            </a:r>
          </a:p>
        </p:txBody>
      </p:sp>
      <p:sp>
        <p:nvSpPr>
          <p:cNvPr id="56" name="Rectangle: Rounded Corners 28">
            <a:extLst>
              <a:ext uri="{FF2B5EF4-FFF2-40B4-BE49-F238E27FC236}">
                <a16:creationId xmlns:a16="http://schemas.microsoft.com/office/drawing/2014/main" id="{A10D64A2-BA0D-48D6-A28C-71E27CF30ADD}"/>
              </a:ext>
            </a:extLst>
          </p:cNvPr>
          <p:cNvSpPr/>
          <p:nvPr/>
        </p:nvSpPr>
        <p:spPr>
          <a:xfrm>
            <a:off x="427757" y="2607553"/>
            <a:ext cx="3793927" cy="26343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2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</a:t>
            </a:r>
          </a:p>
        </p:txBody>
      </p:sp>
      <p:sp>
        <p:nvSpPr>
          <p:cNvPr id="57" name="Rectangle: Rounded Corners 30">
            <a:extLst>
              <a:ext uri="{FF2B5EF4-FFF2-40B4-BE49-F238E27FC236}">
                <a16:creationId xmlns:a16="http://schemas.microsoft.com/office/drawing/2014/main" id="{AC512DC8-50D7-4817-A8A5-EA07DB0D7BE0}"/>
              </a:ext>
            </a:extLst>
          </p:cNvPr>
          <p:cNvSpPr/>
          <p:nvPr/>
        </p:nvSpPr>
        <p:spPr>
          <a:xfrm>
            <a:off x="427757" y="2976303"/>
            <a:ext cx="1408192" cy="3625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0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ystème d’Information Multimodale</a:t>
            </a:r>
          </a:p>
        </p:txBody>
      </p:sp>
      <p:sp>
        <p:nvSpPr>
          <p:cNvPr id="58" name="Rectangle: Rounded Corners 32">
            <a:extLst>
              <a:ext uri="{FF2B5EF4-FFF2-40B4-BE49-F238E27FC236}">
                <a16:creationId xmlns:a16="http://schemas.microsoft.com/office/drawing/2014/main" id="{BD4570F0-8CF8-4531-9093-161EA01FC6C0}"/>
              </a:ext>
            </a:extLst>
          </p:cNvPr>
          <p:cNvSpPr/>
          <p:nvPr/>
        </p:nvSpPr>
        <p:spPr>
          <a:xfrm>
            <a:off x="1893395" y="2975501"/>
            <a:ext cx="666330" cy="36156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0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Billettique</a:t>
            </a:r>
          </a:p>
        </p:txBody>
      </p:sp>
      <p:sp>
        <p:nvSpPr>
          <p:cNvPr id="59" name="Rectangle: Rounded Corners 34">
            <a:extLst>
              <a:ext uri="{FF2B5EF4-FFF2-40B4-BE49-F238E27FC236}">
                <a16:creationId xmlns:a16="http://schemas.microsoft.com/office/drawing/2014/main" id="{FB4D252C-2DF0-4DAC-B4E1-1295FA659129}"/>
              </a:ext>
            </a:extLst>
          </p:cNvPr>
          <p:cNvSpPr/>
          <p:nvPr/>
        </p:nvSpPr>
        <p:spPr>
          <a:xfrm>
            <a:off x="2909533" y="2979192"/>
            <a:ext cx="1312154" cy="3625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0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mpte mobilité</a:t>
            </a:r>
          </a:p>
        </p:txBody>
      </p:sp>
      <p:sp>
        <p:nvSpPr>
          <p:cNvPr id="60" name="Rectangle: Rounded Corners 36">
            <a:extLst>
              <a:ext uri="{FF2B5EF4-FFF2-40B4-BE49-F238E27FC236}">
                <a16:creationId xmlns:a16="http://schemas.microsoft.com/office/drawing/2014/main" id="{6D63FADF-0C62-457C-8F53-263118CB0CC4}"/>
              </a:ext>
            </a:extLst>
          </p:cNvPr>
          <p:cNvSpPr/>
          <p:nvPr/>
        </p:nvSpPr>
        <p:spPr>
          <a:xfrm>
            <a:off x="427757" y="3602402"/>
            <a:ext cx="3793925" cy="30661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2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ata Hub</a:t>
            </a:r>
          </a:p>
        </p:txBody>
      </p:sp>
      <p:pic>
        <p:nvPicPr>
          <p:cNvPr id="61" name="Graphic 7" descr="Database outline">
            <a:extLst>
              <a:ext uri="{FF2B5EF4-FFF2-40B4-BE49-F238E27FC236}">
                <a16:creationId xmlns:a16="http://schemas.microsoft.com/office/drawing/2014/main" id="{A681F447-4C39-4E3F-B1E8-70FDD6C0B3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79306" y="3598886"/>
            <a:ext cx="313286" cy="313286"/>
          </a:xfrm>
          <a:prstGeom prst="rect">
            <a:avLst/>
          </a:prstGeom>
        </p:spPr>
      </p:pic>
      <p:pic>
        <p:nvPicPr>
          <p:cNvPr id="62" name="Graphic 9" descr="Internet Of Things outline">
            <a:extLst>
              <a:ext uri="{FF2B5EF4-FFF2-40B4-BE49-F238E27FC236}">
                <a16:creationId xmlns:a16="http://schemas.microsoft.com/office/drawing/2014/main" id="{555D1A31-3615-460D-8FDB-29759C0AAC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83314" y="2601703"/>
            <a:ext cx="263438" cy="263438"/>
          </a:xfrm>
          <a:prstGeom prst="rect">
            <a:avLst/>
          </a:prstGeom>
        </p:spPr>
      </p:pic>
      <p:sp>
        <p:nvSpPr>
          <p:cNvPr id="63" name="Rectangle: Rounded Corners 34">
            <a:extLst>
              <a:ext uri="{FF2B5EF4-FFF2-40B4-BE49-F238E27FC236}">
                <a16:creationId xmlns:a16="http://schemas.microsoft.com/office/drawing/2014/main" id="{15B36CAD-94D9-47E2-BC21-A5899A4FDD17}"/>
              </a:ext>
            </a:extLst>
          </p:cNvPr>
          <p:cNvSpPr/>
          <p:nvPr/>
        </p:nvSpPr>
        <p:spPr>
          <a:xfrm>
            <a:off x="4463312" y="5248210"/>
            <a:ext cx="6456536" cy="1180504"/>
          </a:xfrm>
          <a:prstGeom prst="roundRect">
            <a:avLst>
              <a:gd name="adj" fmla="val 9230"/>
            </a:avLst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rgbClr val="EEC1AC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algn="r" defTabSz="412750" hangingPunct="0">
              <a:defRPr/>
            </a:pPr>
            <a:r>
              <a:rPr lang="fr-FR" sz="1600" b="1" kern="0">
                <a:solidFill>
                  <a:srgbClr val="D5D5D5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rvices MSP locaux</a:t>
            </a:r>
          </a:p>
        </p:txBody>
      </p:sp>
      <p:cxnSp>
        <p:nvCxnSpPr>
          <p:cNvPr id="64" name="Straight Connector 55">
            <a:extLst>
              <a:ext uri="{FF2B5EF4-FFF2-40B4-BE49-F238E27FC236}">
                <a16:creationId xmlns:a16="http://schemas.microsoft.com/office/drawing/2014/main" id="{3E4F7EC6-70E8-4EAF-8F90-CE7EFF3AED93}"/>
              </a:ext>
            </a:extLst>
          </p:cNvPr>
          <p:cNvCxnSpPr>
            <a:cxnSpLocks/>
          </p:cNvCxnSpPr>
          <p:nvPr/>
        </p:nvCxnSpPr>
        <p:spPr>
          <a:xfrm flipH="1" flipV="1">
            <a:off x="5734934" y="5057304"/>
            <a:ext cx="4438499" cy="6433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cxnSp>
        <p:nvCxnSpPr>
          <p:cNvPr id="65" name="Straight Connector 63">
            <a:extLst>
              <a:ext uri="{FF2B5EF4-FFF2-40B4-BE49-F238E27FC236}">
                <a16:creationId xmlns:a16="http://schemas.microsoft.com/office/drawing/2014/main" id="{D177F17C-B380-4160-97EB-CC5AFA59603F}"/>
              </a:ext>
            </a:extLst>
          </p:cNvPr>
          <p:cNvCxnSpPr>
            <a:cxnSpLocks/>
            <a:stCxn id="105" idx="0"/>
          </p:cNvCxnSpPr>
          <p:nvPr/>
        </p:nvCxnSpPr>
        <p:spPr>
          <a:xfrm flipV="1">
            <a:off x="5734933" y="5049319"/>
            <a:ext cx="0" cy="261130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cxnSp>
        <p:nvCxnSpPr>
          <p:cNvPr id="66" name="Straight Connector 64">
            <a:extLst>
              <a:ext uri="{FF2B5EF4-FFF2-40B4-BE49-F238E27FC236}">
                <a16:creationId xmlns:a16="http://schemas.microsoft.com/office/drawing/2014/main" id="{AD35F69B-BBAA-47AF-8515-DC3A138A4A97}"/>
              </a:ext>
            </a:extLst>
          </p:cNvPr>
          <p:cNvCxnSpPr>
            <a:cxnSpLocks/>
            <a:stCxn id="82" idx="0"/>
          </p:cNvCxnSpPr>
          <p:nvPr/>
        </p:nvCxnSpPr>
        <p:spPr>
          <a:xfrm flipV="1">
            <a:off x="6674685" y="5049319"/>
            <a:ext cx="1" cy="275359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CF09F70-6FD0-4502-946D-D10EF7A9F546}"/>
              </a:ext>
            </a:extLst>
          </p:cNvPr>
          <p:cNvCxnSpPr>
            <a:cxnSpLocks/>
            <a:stCxn id="84" idx="0"/>
          </p:cNvCxnSpPr>
          <p:nvPr/>
        </p:nvCxnSpPr>
        <p:spPr>
          <a:xfrm flipV="1">
            <a:off x="7521472" y="5064717"/>
            <a:ext cx="0" cy="237253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16479CF-13FD-4858-9A4E-E3DC7272F060}"/>
              </a:ext>
            </a:extLst>
          </p:cNvPr>
          <p:cNvCxnSpPr>
            <a:cxnSpLocks/>
            <a:stCxn id="88" idx="0"/>
          </p:cNvCxnSpPr>
          <p:nvPr/>
        </p:nvCxnSpPr>
        <p:spPr>
          <a:xfrm flipH="1" flipV="1">
            <a:off x="9280049" y="5078033"/>
            <a:ext cx="4174" cy="232461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cxnSp>
        <p:nvCxnSpPr>
          <p:cNvPr id="70" name="Straight Arrow Connector 63">
            <a:extLst>
              <a:ext uri="{FF2B5EF4-FFF2-40B4-BE49-F238E27FC236}">
                <a16:creationId xmlns:a16="http://schemas.microsoft.com/office/drawing/2014/main" id="{0ADAA667-8ECB-413B-8835-89E4C4E09E46}"/>
              </a:ext>
            </a:extLst>
          </p:cNvPr>
          <p:cNvCxnSpPr>
            <a:cxnSpLocks/>
          </p:cNvCxnSpPr>
          <p:nvPr/>
        </p:nvCxnSpPr>
        <p:spPr>
          <a:xfrm>
            <a:off x="1047853" y="3338872"/>
            <a:ext cx="0" cy="140891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1" name="Straight Arrow Connector 72">
            <a:extLst>
              <a:ext uri="{FF2B5EF4-FFF2-40B4-BE49-F238E27FC236}">
                <a16:creationId xmlns:a16="http://schemas.microsoft.com/office/drawing/2014/main" id="{75EADB11-12D2-40D4-A0DF-3A0C39D7D26F}"/>
              </a:ext>
            </a:extLst>
          </p:cNvPr>
          <p:cNvCxnSpPr>
            <a:cxnSpLocks/>
          </p:cNvCxnSpPr>
          <p:nvPr/>
        </p:nvCxnSpPr>
        <p:spPr>
          <a:xfrm>
            <a:off x="2263351" y="3337063"/>
            <a:ext cx="0" cy="142699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2" name="Straight Arrow Connector 76">
            <a:extLst>
              <a:ext uri="{FF2B5EF4-FFF2-40B4-BE49-F238E27FC236}">
                <a16:creationId xmlns:a16="http://schemas.microsoft.com/office/drawing/2014/main" id="{FFACB543-39D3-4BD0-9524-436DE251CDB4}"/>
              </a:ext>
            </a:extLst>
          </p:cNvPr>
          <p:cNvCxnSpPr>
            <a:cxnSpLocks/>
          </p:cNvCxnSpPr>
          <p:nvPr/>
        </p:nvCxnSpPr>
        <p:spPr>
          <a:xfrm>
            <a:off x="3539037" y="3324254"/>
            <a:ext cx="0" cy="155508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3" name="Straight Connector 77">
            <a:extLst>
              <a:ext uri="{FF2B5EF4-FFF2-40B4-BE49-F238E27FC236}">
                <a16:creationId xmlns:a16="http://schemas.microsoft.com/office/drawing/2014/main" id="{9CD9C2F8-71C1-463F-B1AD-B86C1D5A3011}"/>
              </a:ext>
            </a:extLst>
          </p:cNvPr>
          <p:cNvCxnSpPr>
            <a:cxnSpLocks/>
          </p:cNvCxnSpPr>
          <p:nvPr/>
        </p:nvCxnSpPr>
        <p:spPr>
          <a:xfrm>
            <a:off x="1031849" y="3462509"/>
            <a:ext cx="2507189" cy="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4" name="Straight Arrow Connector 81">
            <a:extLst>
              <a:ext uri="{FF2B5EF4-FFF2-40B4-BE49-F238E27FC236}">
                <a16:creationId xmlns:a16="http://schemas.microsoft.com/office/drawing/2014/main" id="{4E3BBA36-130D-47B5-B0C1-AC515E2E9606}"/>
              </a:ext>
            </a:extLst>
          </p:cNvPr>
          <p:cNvCxnSpPr>
            <a:cxnSpLocks/>
          </p:cNvCxnSpPr>
          <p:nvPr/>
        </p:nvCxnSpPr>
        <p:spPr>
          <a:xfrm>
            <a:off x="1876023" y="3458934"/>
            <a:ext cx="0" cy="140891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0" name="Rectangle: Rounded Corners 73">
            <a:extLst>
              <a:ext uri="{FF2B5EF4-FFF2-40B4-BE49-F238E27FC236}">
                <a16:creationId xmlns:a16="http://schemas.microsoft.com/office/drawing/2014/main" id="{AABEC6D1-5D31-442B-87FB-CF250597E555}"/>
              </a:ext>
            </a:extLst>
          </p:cNvPr>
          <p:cNvSpPr/>
          <p:nvPr/>
        </p:nvSpPr>
        <p:spPr>
          <a:xfrm>
            <a:off x="2610451" y="2974997"/>
            <a:ext cx="248356" cy="3625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0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82" name="Rectangle: Rounded Corners 35">
            <a:extLst>
              <a:ext uri="{FF2B5EF4-FFF2-40B4-BE49-F238E27FC236}">
                <a16:creationId xmlns:a16="http://schemas.microsoft.com/office/drawing/2014/main" id="{13BC94A2-9A31-4D9A-B6D4-409AABAA1566}"/>
              </a:ext>
            </a:extLst>
          </p:cNvPr>
          <p:cNvSpPr/>
          <p:nvPr/>
        </p:nvSpPr>
        <p:spPr>
          <a:xfrm>
            <a:off x="6283086" y="5324678"/>
            <a:ext cx="783198" cy="801669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Covoiturage</a:t>
            </a:r>
          </a:p>
        </p:txBody>
      </p:sp>
      <p:sp>
        <p:nvSpPr>
          <p:cNvPr id="84" name="Rectangle: Rounded Corners 35">
            <a:extLst>
              <a:ext uri="{FF2B5EF4-FFF2-40B4-BE49-F238E27FC236}">
                <a16:creationId xmlns:a16="http://schemas.microsoft.com/office/drawing/2014/main" id="{3F746C44-45A2-47DE-8B44-A67078281B2E}"/>
              </a:ext>
            </a:extLst>
          </p:cNvPr>
          <p:cNvSpPr/>
          <p:nvPr/>
        </p:nvSpPr>
        <p:spPr>
          <a:xfrm>
            <a:off x="7129873" y="5301969"/>
            <a:ext cx="783198" cy="824378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Autopartage</a:t>
            </a:r>
          </a:p>
        </p:txBody>
      </p:sp>
      <p:sp>
        <p:nvSpPr>
          <p:cNvPr id="86" name="Rectangle: Rounded Corners 35">
            <a:extLst>
              <a:ext uri="{FF2B5EF4-FFF2-40B4-BE49-F238E27FC236}">
                <a16:creationId xmlns:a16="http://schemas.microsoft.com/office/drawing/2014/main" id="{DC1ACC3A-D647-4262-B539-A4FE9DF86F4B}"/>
              </a:ext>
            </a:extLst>
          </p:cNvPr>
          <p:cNvSpPr/>
          <p:nvPr/>
        </p:nvSpPr>
        <p:spPr>
          <a:xfrm>
            <a:off x="7991497" y="5301969"/>
            <a:ext cx="783198" cy="824378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 err="1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Freefloating</a:t>
            </a:r>
            <a:endParaRPr lang="fr-FR" sz="600" b="1" kern="0">
              <a:solidFill>
                <a:srgbClr val="5E5E5E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sp>
        <p:nvSpPr>
          <p:cNvPr id="88" name="Rectangle: Rounded Corners 35">
            <a:extLst>
              <a:ext uri="{FF2B5EF4-FFF2-40B4-BE49-F238E27FC236}">
                <a16:creationId xmlns:a16="http://schemas.microsoft.com/office/drawing/2014/main" id="{3F8C5FB5-9894-410E-A820-EB5AED4D13C3}"/>
              </a:ext>
            </a:extLst>
          </p:cNvPr>
          <p:cNvSpPr/>
          <p:nvPr/>
        </p:nvSpPr>
        <p:spPr>
          <a:xfrm>
            <a:off x="8892624" y="5310494"/>
            <a:ext cx="783198" cy="806753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Stationnemen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5BDB9F-4058-4257-B02C-78CA166C99F2}"/>
              </a:ext>
            </a:extLst>
          </p:cNvPr>
          <p:cNvSpPr/>
          <p:nvPr/>
        </p:nvSpPr>
        <p:spPr>
          <a:xfrm>
            <a:off x="5870233" y="1815307"/>
            <a:ext cx="4040111" cy="118050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t" anchorCtr="0">
            <a:noAutofit/>
          </a:bodyPr>
          <a:lstStyle/>
          <a:p>
            <a:pPr defTabSz="412750" hangingPunct="0">
              <a:defRPr/>
            </a:pPr>
            <a:r>
              <a:rPr lang="fr-FR" sz="1600" b="1" kern="0">
                <a:solidFill>
                  <a:srgbClr val="D5D5D5">
                    <a:lumMod val="25000"/>
                  </a:srgbClr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Plateforme Data Collectivité AOM</a:t>
            </a:r>
          </a:p>
        </p:txBody>
      </p:sp>
      <p:cxnSp>
        <p:nvCxnSpPr>
          <p:cNvPr id="98" name="Straight Arrow Connector 83">
            <a:extLst>
              <a:ext uri="{FF2B5EF4-FFF2-40B4-BE49-F238E27FC236}">
                <a16:creationId xmlns:a16="http://schemas.microsoft.com/office/drawing/2014/main" id="{240CAAD8-1899-474F-B3FF-05039EBEB303}"/>
              </a:ext>
            </a:extLst>
          </p:cNvPr>
          <p:cNvCxnSpPr>
            <a:cxnSpLocks/>
            <a:stCxn id="60" idx="3"/>
            <a:endCxn id="99" idx="1"/>
          </p:cNvCxnSpPr>
          <p:nvPr/>
        </p:nvCxnSpPr>
        <p:spPr>
          <a:xfrm flipV="1">
            <a:off x="4221682" y="2734244"/>
            <a:ext cx="1778385" cy="1021465"/>
          </a:xfrm>
          <a:prstGeom prst="straightConnector1">
            <a:avLst/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9" name="Rectangle: Rounded Corners 36">
            <a:extLst>
              <a:ext uri="{FF2B5EF4-FFF2-40B4-BE49-F238E27FC236}">
                <a16:creationId xmlns:a16="http://schemas.microsoft.com/office/drawing/2014/main" id="{88C21672-722C-4BE5-9A7E-918BEDF0F2DD}"/>
              </a:ext>
            </a:extLst>
          </p:cNvPr>
          <p:cNvSpPr/>
          <p:nvPr/>
        </p:nvSpPr>
        <p:spPr>
          <a:xfrm>
            <a:off x="6000067" y="2580937"/>
            <a:ext cx="3793925" cy="306613"/>
          </a:xfrm>
          <a:prstGeom prst="roundRect">
            <a:avLst/>
          </a:prstGeom>
          <a:solidFill>
            <a:srgbClr val="00B05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2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ata Hub</a:t>
            </a:r>
          </a:p>
        </p:txBody>
      </p:sp>
      <p:pic>
        <p:nvPicPr>
          <p:cNvPr id="100" name="Graphic 7" descr="Database outline">
            <a:extLst>
              <a:ext uri="{FF2B5EF4-FFF2-40B4-BE49-F238E27FC236}">
                <a16:creationId xmlns:a16="http://schemas.microsoft.com/office/drawing/2014/main" id="{6BF0AAF5-AB87-4B5E-98A4-807006ABE1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20506" y="2574565"/>
            <a:ext cx="313286" cy="313286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085C853B-A5FF-48D4-BB26-553DCED19DA0}"/>
              </a:ext>
            </a:extLst>
          </p:cNvPr>
          <p:cNvSpPr txBox="1"/>
          <p:nvPr/>
        </p:nvSpPr>
        <p:spPr>
          <a:xfrm>
            <a:off x="4853475" y="2764025"/>
            <a:ext cx="836762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Données 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Mobilité</a:t>
            </a:r>
          </a:p>
        </p:txBody>
      </p:sp>
      <p:sp>
        <p:nvSpPr>
          <p:cNvPr id="105" name="Rectangle: Rounded Corners 35">
            <a:extLst>
              <a:ext uri="{FF2B5EF4-FFF2-40B4-BE49-F238E27FC236}">
                <a16:creationId xmlns:a16="http://schemas.microsoft.com/office/drawing/2014/main" id="{575CC355-5EB9-49D8-9282-17778E318A16}"/>
              </a:ext>
            </a:extLst>
          </p:cNvPr>
          <p:cNvSpPr/>
          <p:nvPr/>
        </p:nvSpPr>
        <p:spPr>
          <a:xfrm>
            <a:off x="5390259" y="5310449"/>
            <a:ext cx="689349" cy="815361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TC</a:t>
            </a:r>
          </a:p>
        </p:txBody>
      </p:sp>
      <p:cxnSp>
        <p:nvCxnSpPr>
          <p:cNvPr id="107" name="Straight Connector 67">
            <a:extLst>
              <a:ext uri="{FF2B5EF4-FFF2-40B4-BE49-F238E27FC236}">
                <a16:creationId xmlns:a16="http://schemas.microsoft.com/office/drawing/2014/main" id="{7CAE78B4-6881-4274-93D5-DEA1CE2715B0}"/>
              </a:ext>
            </a:extLst>
          </p:cNvPr>
          <p:cNvCxnSpPr>
            <a:cxnSpLocks/>
            <a:stCxn id="86" idx="0"/>
          </p:cNvCxnSpPr>
          <p:nvPr/>
        </p:nvCxnSpPr>
        <p:spPr>
          <a:xfrm flipV="1">
            <a:off x="8383096" y="5078033"/>
            <a:ext cx="0" cy="223937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271FE75C-364A-48DA-A070-49296E42E5EA}"/>
              </a:ext>
            </a:extLst>
          </p:cNvPr>
          <p:cNvSpPr txBox="1"/>
          <p:nvPr/>
        </p:nvSpPr>
        <p:spPr>
          <a:xfrm>
            <a:off x="4642045" y="4029068"/>
            <a:ext cx="700983" cy="3744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1 unique interface MaaS HUB d’accès MSP</a:t>
            </a:r>
          </a:p>
        </p:txBody>
      </p:sp>
      <p:sp>
        <p:nvSpPr>
          <p:cNvPr id="110" name="Rectangle: Rounded Corners 54">
            <a:extLst>
              <a:ext uri="{FF2B5EF4-FFF2-40B4-BE49-F238E27FC236}">
                <a16:creationId xmlns:a16="http://schemas.microsoft.com/office/drawing/2014/main" id="{A1ECC23E-5D05-431C-AB61-F0DEAC29D4E5}"/>
              </a:ext>
            </a:extLst>
          </p:cNvPr>
          <p:cNvSpPr/>
          <p:nvPr/>
        </p:nvSpPr>
        <p:spPr>
          <a:xfrm>
            <a:off x="5613967" y="3252253"/>
            <a:ext cx="4559466" cy="1491330"/>
          </a:xfrm>
          <a:prstGeom prst="roundRect">
            <a:avLst>
              <a:gd name="adj" fmla="val 29146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r">
              <a:defRPr/>
            </a:pPr>
            <a:r>
              <a:rPr lang="fr-FR" sz="110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   HUB « Std MaaS »</a:t>
            </a:r>
            <a:endParaRPr lang="fr-FR" sz="1200" b="1" ker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cs typeface="Arial"/>
              <a:sym typeface="Arial"/>
            </a:endParaRP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FDECA859-C91C-41C2-9535-7CDBC4DBBBDF}"/>
              </a:ext>
            </a:extLst>
          </p:cNvPr>
          <p:cNvSpPr/>
          <p:nvPr/>
        </p:nvSpPr>
        <p:spPr>
          <a:xfrm>
            <a:off x="5762855" y="3838857"/>
            <a:ext cx="586722" cy="779259"/>
          </a:xfrm>
          <a:prstGeom prst="roundRect">
            <a:avLst>
              <a:gd name="adj" fmla="val 29146"/>
            </a:avLst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7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API MaaS</a:t>
            </a:r>
          </a:p>
        </p:txBody>
      </p:sp>
      <p:sp>
        <p:nvSpPr>
          <p:cNvPr id="112" name="Rectangle: Rounded Corners 54">
            <a:extLst>
              <a:ext uri="{FF2B5EF4-FFF2-40B4-BE49-F238E27FC236}">
                <a16:creationId xmlns:a16="http://schemas.microsoft.com/office/drawing/2014/main" id="{E33D6A27-A5BD-4DDC-B5C8-839B99F46D07}"/>
              </a:ext>
            </a:extLst>
          </p:cNvPr>
          <p:cNvSpPr/>
          <p:nvPr/>
        </p:nvSpPr>
        <p:spPr>
          <a:xfrm>
            <a:off x="6560394" y="3784705"/>
            <a:ext cx="3454875" cy="887288"/>
          </a:xfrm>
          <a:prstGeom prst="roundRect">
            <a:avLst>
              <a:gd name="adj" fmla="val 2914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6">
                  <a:lumMod val="50000"/>
                </a:schemeClr>
              </a:gs>
              <a:gs pos="83000">
                <a:schemeClr val="accent6">
                  <a:lumMod val="50000"/>
                </a:schemeClr>
              </a:gs>
              <a:gs pos="100000">
                <a:schemeClr val="accent6">
                  <a:lumMod val="50000"/>
                </a:schemeClr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>
              <a:defRPr/>
            </a:pPr>
            <a:r>
              <a:rPr lang="fr-FR" sz="8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Adaptateurs MSP</a:t>
            </a:r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12F122CA-24D5-428A-A281-1329C965FDEF}"/>
              </a:ext>
            </a:extLst>
          </p:cNvPr>
          <p:cNvSpPr/>
          <p:nvPr/>
        </p:nvSpPr>
        <p:spPr>
          <a:xfrm>
            <a:off x="5762853" y="3307256"/>
            <a:ext cx="508153" cy="451147"/>
          </a:xfrm>
          <a:prstGeom prst="roundRect">
            <a:avLst>
              <a:gd name="adj" fmla="val 29146"/>
            </a:avLst>
          </a:prstGeom>
          <a:solidFill>
            <a:schemeClr val="accent4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7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API MCM</a:t>
            </a:r>
          </a:p>
        </p:txBody>
      </p:sp>
      <p:cxnSp>
        <p:nvCxnSpPr>
          <p:cNvPr id="115" name="Straight Arrow Connector 87">
            <a:extLst>
              <a:ext uri="{FF2B5EF4-FFF2-40B4-BE49-F238E27FC236}">
                <a16:creationId xmlns:a16="http://schemas.microsoft.com/office/drawing/2014/main" id="{D8651B5E-11D1-4706-A85D-103BF6712687}"/>
              </a:ext>
            </a:extLst>
          </p:cNvPr>
          <p:cNvCxnSpPr>
            <a:cxnSpLocks/>
            <a:stCxn id="112" idx="2"/>
          </p:cNvCxnSpPr>
          <p:nvPr/>
        </p:nvCxnSpPr>
        <p:spPr>
          <a:xfrm>
            <a:off x="8287831" y="4671993"/>
            <a:ext cx="0" cy="411895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6" name="Straight Arrow Connector 87">
            <a:extLst>
              <a:ext uri="{FF2B5EF4-FFF2-40B4-BE49-F238E27FC236}">
                <a16:creationId xmlns:a16="http://schemas.microsoft.com/office/drawing/2014/main" id="{1BC99025-C33A-4187-B1F1-077811DF1F7C}"/>
              </a:ext>
            </a:extLst>
          </p:cNvPr>
          <p:cNvCxnSpPr>
            <a:cxnSpLocks/>
            <a:stCxn id="113" idx="1"/>
          </p:cNvCxnSpPr>
          <p:nvPr/>
        </p:nvCxnSpPr>
        <p:spPr>
          <a:xfrm flipH="1" flipV="1">
            <a:off x="4221683" y="3151852"/>
            <a:ext cx="1541170" cy="380978"/>
          </a:xfrm>
          <a:prstGeom prst="straightConnector1">
            <a:avLst/>
          </a:prstGeom>
          <a:ln w="76200"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E0C6351C-C328-4D96-A3BA-722FBF385754}"/>
              </a:ext>
            </a:extLst>
          </p:cNvPr>
          <p:cNvSpPr txBox="1"/>
          <p:nvPr/>
        </p:nvSpPr>
        <p:spPr>
          <a:xfrm>
            <a:off x="8320843" y="4710918"/>
            <a:ext cx="621860" cy="3744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Interfaces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d’accès MSP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en direct</a:t>
            </a: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6088D76A-89F1-47BA-99E0-2A8D6FF20D42}"/>
              </a:ext>
            </a:extLst>
          </p:cNvPr>
          <p:cNvSpPr/>
          <p:nvPr/>
        </p:nvSpPr>
        <p:spPr>
          <a:xfrm>
            <a:off x="6652400" y="3307256"/>
            <a:ext cx="1799526" cy="435800"/>
          </a:xfrm>
          <a:prstGeom prst="roundRect">
            <a:avLst>
              <a:gd name="adj" fmla="val 29146"/>
            </a:avLst>
          </a:prstGeom>
          <a:solidFill>
            <a:schemeClr val="accent4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700">
                <a:solidFill>
                  <a:srgbClr val="D5D5D5">
                    <a:lumMod val="1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Comptes Mobilité / </a:t>
            </a:r>
            <a:r>
              <a:rPr lang="fr-FR" sz="700" err="1">
                <a:solidFill>
                  <a:srgbClr val="D5D5D5">
                    <a:lumMod val="1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Mobility</a:t>
            </a:r>
            <a:r>
              <a:rPr lang="fr-FR" sz="700">
                <a:solidFill>
                  <a:srgbClr val="D5D5D5">
                    <a:lumMod val="1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 </a:t>
            </a:r>
            <a:r>
              <a:rPr lang="fr-FR" sz="700" err="1">
                <a:solidFill>
                  <a:srgbClr val="D5D5D5">
                    <a:lumMod val="1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Connect</a:t>
            </a:r>
            <a:endParaRPr lang="fr-FR" sz="700">
              <a:solidFill>
                <a:srgbClr val="D5D5D5">
                  <a:lumMod val="1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cs typeface="Arial"/>
              <a:sym typeface="Arial"/>
            </a:endParaRPr>
          </a:p>
          <a:p>
            <a:pPr algn="ctr">
              <a:defRPr/>
            </a:pPr>
            <a:r>
              <a:rPr lang="fr-FR" sz="700">
                <a:solidFill>
                  <a:srgbClr val="D5D5D5">
                    <a:lumMod val="1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Aides, Justificatifs</a:t>
            </a:r>
          </a:p>
          <a:p>
            <a:pPr algn="ctr">
              <a:defRPr/>
            </a:pPr>
            <a:r>
              <a:rPr lang="fr-FR" sz="700">
                <a:solidFill>
                  <a:srgbClr val="D5D5D5">
                    <a:lumMod val="1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...</a:t>
            </a:r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487CCE29-657F-4761-93C8-AB53E6C9F14D}"/>
              </a:ext>
            </a:extLst>
          </p:cNvPr>
          <p:cNvCxnSpPr>
            <a:cxnSpLocks/>
            <a:stCxn id="113" idx="3"/>
            <a:endCxn id="118" idx="1"/>
          </p:cNvCxnSpPr>
          <p:nvPr/>
        </p:nvCxnSpPr>
        <p:spPr>
          <a:xfrm flipV="1">
            <a:off x="6271006" y="3525156"/>
            <a:ext cx="381394" cy="7674"/>
          </a:xfrm>
          <a:prstGeom prst="straightConnector1">
            <a:avLst/>
          </a:prstGeom>
          <a:noFill/>
          <a:ln w="28575" cap="flat">
            <a:solidFill>
              <a:schemeClr val="bg1"/>
            </a:solidFill>
            <a:prstDash val="sysDot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1C6A2E15-D3DA-4FEB-832B-40E09C3DBB84}"/>
              </a:ext>
            </a:extLst>
          </p:cNvPr>
          <p:cNvCxnSpPr>
            <a:cxnSpLocks/>
            <a:stCxn id="111" idx="3"/>
            <a:endCxn id="112" idx="1"/>
          </p:cNvCxnSpPr>
          <p:nvPr/>
        </p:nvCxnSpPr>
        <p:spPr>
          <a:xfrm flipV="1">
            <a:off x="6349577" y="4228349"/>
            <a:ext cx="210817" cy="138"/>
          </a:xfrm>
          <a:prstGeom prst="straightConnector1">
            <a:avLst/>
          </a:prstGeom>
          <a:noFill/>
          <a:ln w="28575" cap="flat">
            <a:solidFill>
              <a:schemeClr val="bg1"/>
            </a:solidFill>
            <a:prstDash val="sysDot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1" name="Rectangle: Single Corner Rounded 1033">
            <a:extLst>
              <a:ext uri="{FF2B5EF4-FFF2-40B4-BE49-F238E27FC236}">
                <a16:creationId xmlns:a16="http://schemas.microsoft.com/office/drawing/2014/main" id="{4C89B315-30EF-4C71-98A6-CFCD03A6E723}"/>
              </a:ext>
            </a:extLst>
          </p:cNvPr>
          <p:cNvSpPr/>
          <p:nvPr/>
        </p:nvSpPr>
        <p:spPr>
          <a:xfrm>
            <a:off x="6682508" y="4024681"/>
            <a:ext cx="613496" cy="186811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Covoiturage</a:t>
            </a:r>
          </a:p>
        </p:txBody>
      </p:sp>
      <p:sp>
        <p:nvSpPr>
          <p:cNvPr id="122" name="Rectangle: Single Corner Rounded 1033">
            <a:extLst>
              <a:ext uri="{FF2B5EF4-FFF2-40B4-BE49-F238E27FC236}">
                <a16:creationId xmlns:a16="http://schemas.microsoft.com/office/drawing/2014/main" id="{6C2EC6F1-6F64-4EAD-B6CD-B364A8820EB5}"/>
              </a:ext>
            </a:extLst>
          </p:cNvPr>
          <p:cNvSpPr/>
          <p:nvPr/>
        </p:nvSpPr>
        <p:spPr>
          <a:xfrm>
            <a:off x="7361309" y="4032923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Autopartage</a:t>
            </a:r>
          </a:p>
        </p:txBody>
      </p:sp>
      <p:sp>
        <p:nvSpPr>
          <p:cNvPr id="123" name="Rectangle: Single Corner Rounded 1033">
            <a:extLst>
              <a:ext uri="{FF2B5EF4-FFF2-40B4-BE49-F238E27FC236}">
                <a16:creationId xmlns:a16="http://schemas.microsoft.com/office/drawing/2014/main" id="{058E6D6B-FE98-48AF-929D-03C034CEDF00}"/>
              </a:ext>
            </a:extLst>
          </p:cNvPr>
          <p:cNvSpPr/>
          <p:nvPr/>
        </p:nvSpPr>
        <p:spPr>
          <a:xfrm>
            <a:off x="8024287" y="4041063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</a:t>
            </a:r>
            <a:r>
              <a:rPr lang="fr-FR" sz="525" b="1" kern="0" err="1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reefloating</a:t>
            </a:r>
            <a:endParaRPr lang="fr-FR" sz="525" b="1" kern="0">
              <a:solidFill>
                <a:srgbClr val="000000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24" name="Rectangle: Single Corner Rounded 1033">
            <a:extLst>
              <a:ext uri="{FF2B5EF4-FFF2-40B4-BE49-F238E27FC236}">
                <a16:creationId xmlns:a16="http://schemas.microsoft.com/office/drawing/2014/main" id="{510FA3F2-357A-4F48-BDC5-B017C9680D08}"/>
              </a:ext>
            </a:extLst>
          </p:cNvPr>
          <p:cNvSpPr/>
          <p:nvPr/>
        </p:nvSpPr>
        <p:spPr>
          <a:xfrm>
            <a:off x="8697753" y="4038757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Stationnement</a:t>
            </a:r>
          </a:p>
        </p:txBody>
      </p:sp>
      <p:sp>
        <p:nvSpPr>
          <p:cNvPr id="125" name="Rectangle: Single Corner Rounded 1033">
            <a:extLst>
              <a:ext uri="{FF2B5EF4-FFF2-40B4-BE49-F238E27FC236}">
                <a16:creationId xmlns:a16="http://schemas.microsoft.com/office/drawing/2014/main" id="{59F4569D-58DD-4FCF-BED1-89F2CB8438FB}"/>
              </a:ext>
            </a:extLst>
          </p:cNvPr>
          <p:cNvSpPr/>
          <p:nvPr/>
        </p:nvSpPr>
        <p:spPr>
          <a:xfrm>
            <a:off x="9370370" y="4037951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</a:t>
            </a:r>
          </a:p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Taxi / VTC</a:t>
            </a:r>
          </a:p>
        </p:txBody>
      </p:sp>
      <p:sp>
        <p:nvSpPr>
          <p:cNvPr id="126" name="Rectangle: Single Corner Rounded 1033">
            <a:extLst>
              <a:ext uri="{FF2B5EF4-FFF2-40B4-BE49-F238E27FC236}">
                <a16:creationId xmlns:a16="http://schemas.microsoft.com/office/drawing/2014/main" id="{B6374938-0B5B-45A2-975E-08C7E93C61BC}"/>
              </a:ext>
            </a:extLst>
          </p:cNvPr>
          <p:cNvSpPr/>
          <p:nvPr/>
        </p:nvSpPr>
        <p:spPr>
          <a:xfrm>
            <a:off x="6682508" y="4238442"/>
            <a:ext cx="613496" cy="186811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Covoiturage</a:t>
            </a:r>
          </a:p>
        </p:txBody>
      </p:sp>
      <p:sp>
        <p:nvSpPr>
          <p:cNvPr id="127" name="Rectangle: Single Corner Rounded 1033">
            <a:extLst>
              <a:ext uri="{FF2B5EF4-FFF2-40B4-BE49-F238E27FC236}">
                <a16:creationId xmlns:a16="http://schemas.microsoft.com/office/drawing/2014/main" id="{5A189DEB-ECA1-4F94-9B8C-7DC3BC336434}"/>
              </a:ext>
            </a:extLst>
          </p:cNvPr>
          <p:cNvSpPr/>
          <p:nvPr/>
        </p:nvSpPr>
        <p:spPr>
          <a:xfrm>
            <a:off x="7361309" y="4246684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Autopartage</a:t>
            </a:r>
          </a:p>
        </p:txBody>
      </p:sp>
      <p:sp>
        <p:nvSpPr>
          <p:cNvPr id="128" name="Rectangle: Single Corner Rounded 1033">
            <a:extLst>
              <a:ext uri="{FF2B5EF4-FFF2-40B4-BE49-F238E27FC236}">
                <a16:creationId xmlns:a16="http://schemas.microsoft.com/office/drawing/2014/main" id="{9FF4EE0B-D6B2-4705-9533-1DC7F5797EEA}"/>
              </a:ext>
            </a:extLst>
          </p:cNvPr>
          <p:cNvSpPr/>
          <p:nvPr/>
        </p:nvSpPr>
        <p:spPr>
          <a:xfrm>
            <a:off x="8024287" y="4254824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</a:t>
            </a:r>
            <a:r>
              <a:rPr lang="fr-FR" sz="525" b="1" kern="0" err="1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reefloating</a:t>
            </a:r>
            <a:endParaRPr lang="fr-FR" sz="525" b="1" kern="0">
              <a:solidFill>
                <a:srgbClr val="000000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29" name="Rectangle: Single Corner Rounded 1033">
            <a:extLst>
              <a:ext uri="{FF2B5EF4-FFF2-40B4-BE49-F238E27FC236}">
                <a16:creationId xmlns:a16="http://schemas.microsoft.com/office/drawing/2014/main" id="{DE0358C8-6C13-4A0F-94AF-89D03DBABF20}"/>
              </a:ext>
            </a:extLst>
          </p:cNvPr>
          <p:cNvSpPr/>
          <p:nvPr/>
        </p:nvSpPr>
        <p:spPr>
          <a:xfrm>
            <a:off x="8697753" y="4252518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Stationnement</a:t>
            </a:r>
          </a:p>
        </p:txBody>
      </p:sp>
      <p:sp>
        <p:nvSpPr>
          <p:cNvPr id="130" name="Rectangle: Single Corner Rounded 1033">
            <a:extLst>
              <a:ext uri="{FF2B5EF4-FFF2-40B4-BE49-F238E27FC236}">
                <a16:creationId xmlns:a16="http://schemas.microsoft.com/office/drawing/2014/main" id="{C589C897-9987-440A-AE82-84227F25611C}"/>
              </a:ext>
            </a:extLst>
          </p:cNvPr>
          <p:cNvSpPr/>
          <p:nvPr/>
        </p:nvSpPr>
        <p:spPr>
          <a:xfrm>
            <a:off x="9370370" y="4251713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</a:t>
            </a:r>
          </a:p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Taxi / VTC</a:t>
            </a:r>
          </a:p>
        </p:txBody>
      </p:sp>
      <p:sp>
        <p:nvSpPr>
          <p:cNvPr id="131" name="Rectangle: Rounded Corners 35">
            <a:extLst>
              <a:ext uri="{FF2B5EF4-FFF2-40B4-BE49-F238E27FC236}">
                <a16:creationId xmlns:a16="http://schemas.microsoft.com/office/drawing/2014/main" id="{CDAE2F5B-513F-4F57-A4A8-CDEC5F78DE86}"/>
              </a:ext>
            </a:extLst>
          </p:cNvPr>
          <p:cNvSpPr/>
          <p:nvPr/>
        </p:nvSpPr>
        <p:spPr>
          <a:xfrm>
            <a:off x="9789577" y="5310302"/>
            <a:ext cx="783198" cy="806753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Taxi / VTC</a:t>
            </a:r>
          </a:p>
        </p:txBody>
      </p:sp>
      <p:cxnSp>
        <p:nvCxnSpPr>
          <p:cNvPr id="133" name="Straight Connector 67">
            <a:extLst>
              <a:ext uri="{FF2B5EF4-FFF2-40B4-BE49-F238E27FC236}">
                <a16:creationId xmlns:a16="http://schemas.microsoft.com/office/drawing/2014/main" id="{2E36DA73-ADE0-4F6A-A1E6-E9B3BE3B3688}"/>
              </a:ext>
            </a:extLst>
          </p:cNvPr>
          <p:cNvCxnSpPr>
            <a:cxnSpLocks/>
            <a:stCxn id="131" idx="0"/>
          </p:cNvCxnSpPr>
          <p:nvPr/>
        </p:nvCxnSpPr>
        <p:spPr>
          <a:xfrm flipH="1" flipV="1">
            <a:off x="10177197" y="5055742"/>
            <a:ext cx="3979" cy="254560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260DB62F-134B-437F-BC45-ED1D548E7057}"/>
              </a:ext>
            </a:extLst>
          </p:cNvPr>
          <p:cNvSpPr txBox="1"/>
          <p:nvPr/>
        </p:nvSpPr>
        <p:spPr>
          <a:xfrm>
            <a:off x="4808994" y="3447937"/>
            <a:ext cx="836762" cy="159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Comptes Mobilité</a:t>
            </a:r>
          </a:p>
        </p:txBody>
      </p:sp>
      <p:cxnSp>
        <p:nvCxnSpPr>
          <p:cNvPr id="135" name="Straight Arrow Connector 83">
            <a:extLst>
              <a:ext uri="{FF2B5EF4-FFF2-40B4-BE49-F238E27FC236}">
                <a16:creationId xmlns:a16="http://schemas.microsoft.com/office/drawing/2014/main" id="{87F62589-7FFD-4853-BCE5-9EC851CEFB2E}"/>
              </a:ext>
            </a:extLst>
          </p:cNvPr>
          <p:cNvCxnSpPr>
            <a:cxnSpLocks/>
            <a:stCxn id="60" idx="3"/>
            <a:endCxn id="111" idx="1"/>
          </p:cNvCxnSpPr>
          <p:nvPr/>
        </p:nvCxnSpPr>
        <p:spPr>
          <a:xfrm>
            <a:off x="4221682" y="3755709"/>
            <a:ext cx="1541173" cy="472778"/>
          </a:xfrm>
          <a:prstGeom prst="straightConnector1">
            <a:avLst/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36" name="Rectangle: Single Corner Rounded 1033">
            <a:extLst>
              <a:ext uri="{FF2B5EF4-FFF2-40B4-BE49-F238E27FC236}">
                <a16:creationId xmlns:a16="http://schemas.microsoft.com/office/drawing/2014/main" id="{239E3FAB-51FA-4B54-AC57-8A29DCA43F96}"/>
              </a:ext>
            </a:extLst>
          </p:cNvPr>
          <p:cNvSpPr/>
          <p:nvPr/>
        </p:nvSpPr>
        <p:spPr>
          <a:xfrm>
            <a:off x="8697753" y="4457647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 Stationnement</a:t>
            </a:r>
          </a:p>
        </p:txBody>
      </p:sp>
      <p:cxnSp>
        <p:nvCxnSpPr>
          <p:cNvPr id="137" name="Straight Arrow Connector 87">
            <a:extLst>
              <a:ext uri="{FF2B5EF4-FFF2-40B4-BE49-F238E27FC236}">
                <a16:creationId xmlns:a16="http://schemas.microsoft.com/office/drawing/2014/main" id="{5BD65646-5953-4C72-9496-23C4091F16BC}"/>
              </a:ext>
            </a:extLst>
          </p:cNvPr>
          <p:cNvCxnSpPr>
            <a:cxnSpLocks/>
            <a:stCxn id="110" idx="0"/>
            <a:endCxn id="99" idx="2"/>
          </p:cNvCxnSpPr>
          <p:nvPr/>
        </p:nvCxnSpPr>
        <p:spPr>
          <a:xfrm flipV="1">
            <a:off x="7893700" y="2887550"/>
            <a:ext cx="3330" cy="364703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10E01A9C-9705-42FD-88C5-DAD165CE7712}"/>
              </a:ext>
            </a:extLst>
          </p:cNvPr>
          <p:cNvSpPr txBox="1"/>
          <p:nvPr/>
        </p:nvSpPr>
        <p:spPr>
          <a:xfrm>
            <a:off x="7718105" y="2987050"/>
            <a:ext cx="836762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Données 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Mobilité</a:t>
            </a:r>
          </a:p>
        </p:txBody>
      </p:sp>
      <p:sp>
        <p:nvSpPr>
          <p:cNvPr id="139" name="Rectangle: Single Corner Rounded 1033">
            <a:extLst>
              <a:ext uri="{FF2B5EF4-FFF2-40B4-BE49-F238E27FC236}">
                <a16:creationId xmlns:a16="http://schemas.microsoft.com/office/drawing/2014/main" id="{089AB3D4-8721-4ACB-8271-8BC8A4699B46}"/>
              </a:ext>
            </a:extLst>
          </p:cNvPr>
          <p:cNvSpPr/>
          <p:nvPr/>
        </p:nvSpPr>
        <p:spPr>
          <a:xfrm>
            <a:off x="9370370" y="4465474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40" name="Rectangle: Single Corner Rounded 1033">
            <a:extLst>
              <a:ext uri="{FF2B5EF4-FFF2-40B4-BE49-F238E27FC236}">
                <a16:creationId xmlns:a16="http://schemas.microsoft.com/office/drawing/2014/main" id="{747CC862-8CE0-4F74-8289-6AD7F2C8B9BD}"/>
              </a:ext>
            </a:extLst>
          </p:cNvPr>
          <p:cNvSpPr/>
          <p:nvPr/>
        </p:nvSpPr>
        <p:spPr>
          <a:xfrm>
            <a:off x="8425965" y="4464615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41" name="Rectangle: Single Corner Rounded 1033">
            <a:extLst>
              <a:ext uri="{FF2B5EF4-FFF2-40B4-BE49-F238E27FC236}">
                <a16:creationId xmlns:a16="http://schemas.microsoft.com/office/drawing/2014/main" id="{7133031E-83B4-4ED7-A692-10E66513AD80}"/>
              </a:ext>
            </a:extLst>
          </p:cNvPr>
          <p:cNvSpPr/>
          <p:nvPr/>
        </p:nvSpPr>
        <p:spPr>
          <a:xfrm>
            <a:off x="7348295" y="4474698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42" name="Rectangle: Single Corner Rounded 1033">
            <a:extLst>
              <a:ext uri="{FF2B5EF4-FFF2-40B4-BE49-F238E27FC236}">
                <a16:creationId xmlns:a16="http://schemas.microsoft.com/office/drawing/2014/main" id="{3C1211E7-6805-44AA-8905-E393FB97851F}"/>
              </a:ext>
            </a:extLst>
          </p:cNvPr>
          <p:cNvSpPr/>
          <p:nvPr/>
        </p:nvSpPr>
        <p:spPr>
          <a:xfrm>
            <a:off x="6688329" y="4464128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43" name="Rectangle: Single Corner Rounded 1033">
            <a:extLst>
              <a:ext uri="{FF2B5EF4-FFF2-40B4-BE49-F238E27FC236}">
                <a16:creationId xmlns:a16="http://schemas.microsoft.com/office/drawing/2014/main" id="{E5B7B94C-1A05-486C-9AE3-EF4770DB94B4}"/>
              </a:ext>
            </a:extLst>
          </p:cNvPr>
          <p:cNvSpPr/>
          <p:nvPr/>
        </p:nvSpPr>
        <p:spPr>
          <a:xfrm>
            <a:off x="6942731" y="4467315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44" name="Rectangle: Single Corner Rounded 1033">
            <a:extLst>
              <a:ext uri="{FF2B5EF4-FFF2-40B4-BE49-F238E27FC236}">
                <a16:creationId xmlns:a16="http://schemas.microsoft.com/office/drawing/2014/main" id="{6B998079-04BC-4DDD-B92A-E81C92310273}"/>
              </a:ext>
            </a:extLst>
          </p:cNvPr>
          <p:cNvSpPr/>
          <p:nvPr/>
        </p:nvSpPr>
        <p:spPr>
          <a:xfrm>
            <a:off x="7597606" y="4480731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45" name="Rectangle: Single Corner Rounded 1033">
            <a:extLst>
              <a:ext uri="{FF2B5EF4-FFF2-40B4-BE49-F238E27FC236}">
                <a16:creationId xmlns:a16="http://schemas.microsoft.com/office/drawing/2014/main" id="{329F9A0A-A025-4DF0-9CD7-43F7D9220AD8}"/>
              </a:ext>
            </a:extLst>
          </p:cNvPr>
          <p:cNvSpPr/>
          <p:nvPr/>
        </p:nvSpPr>
        <p:spPr>
          <a:xfrm>
            <a:off x="8166678" y="4472615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C7A4C7B-011C-428B-8642-D1BB07F947E5}"/>
              </a:ext>
            </a:extLst>
          </p:cNvPr>
          <p:cNvSpPr/>
          <p:nvPr/>
        </p:nvSpPr>
        <p:spPr bwMode="auto">
          <a:xfrm>
            <a:off x="4808994" y="1112808"/>
            <a:ext cx="1751400" cy="510032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solidFill>
              <a:schemeClr val="bg2">
                <a:lumMod val="25000"/>
              </a:schemeClr>
            </a:solidFill>
            <a:prstDash val="sysDot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 anchorCtr="0"/>
          <a:lstStyle/>
          <a:p>
            <a:pPr defTabSz="1219169" hangingPunct="0"/>
            <a:r>
              <a:rPr lang="fr-FR" sz="1600" b="1" kern="0">
                <a:solidFill>
                  <a:srgbClr val="D5D5D5">
                    <a:lumMod val="25000"/>
                  </a:srgbClr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llectivité AOM </a:t>
            </a:r>
          </a:p>
          <a:p>
            <a:pPr defTabSz="1219169" hangingPunct="0"/>
            <a:endParaRPr lang="fr-FR" sz="525" kern="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02" name="Rectangle: Single Corner Rounded 154">
            <a:extLst>
              <a:ext uri="{FF2B5EF4-FFF2-40B4-BE49-F238E27FC236}">
                <a16:creationId xmlns:a16="http://schemas.microsoft.com/office/drawing/2014/main" id="{FFF11EC1-D5CA-4DAD-B94C-55523C0E647F}"/>
              </a:ext>
            </a:extLst>
          </p:cNvPr>
          <p:cNvSpPr/>
          <p:nvPr/>
        </p:nvSpPr>
        <p:spPr>
          <a:xfrm>
            <a:off x="4498413" y="5315110"/>
            <a:ext cx="793970" cy="181708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</a:t>
            </a:r>
          </a:p>
        </p:txBody>
      </p:sp>
      <p:sp>
        <p:nvSpPr>
          <p:cNvPr id="103" name="Rectangle: Single Corner Rounded 155">
            <a:extLst>
              <a:ext uri="{FF2B5EF4-FFF2-40B4-BE49-F238E27FC236}">
                <a16:creationId xmlns:a16="http://schemas.microsoft.com/office/drawing/2014/main" id="{409ADBA7-8E2B-46C0-8BBE-076C08F7E7C0}"/>
              </a:ext>
            </a:extLst>
          </p:cNvPr>
          <p:cNvSpPr/>
          <p:nvPr/>
        </p:nvSpPr>
        <p:spPr>
          <a:xfrm>
            <a:off x="4487011" y="5526158"/>
            <a:ext cx="807782" cy="169552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2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8100000" scaled="0"/>
          </a:gra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</a:t>
            </a:r>
          </a:p>
        </p:txBody>
      </p:sp>
      <p:sp>
        <p:nvSpPr>
          <p:cNvPr id="104" name="Rectangle: Single Corner Rounded 156">
            <a:extLst>
              <a:ext uri="{FF2B5EF4-FFF2-40B4-BE49-F238E27FC236}">
                <a16:creationId xmlns:a16="http://schemas.microsoft.com/office/drawing/2014/main" id="{6FB19CC1-4082-415D-B04F-DD98BB7F7E63}"/>
              </a:ext>
            </a:extLst>
          </p:cNvPr>
          <p:cNvSpPr/>
          <p:nvPr/>
        </p:nvSpPr>
        <p:spPr>
          <a:xfrm>
            <a:off x="4489269" y="5734906"/>
            <a:ext cx="801349" cy="181709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8100000" scaled="0"/>
          </a:gra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106" name="Rectangle: Single Corner Rounded 157">
            <a:extLst>
              <a:ext uri="{FF2B5EF4-FFF2-40B4-BE49-F238E27FC236}">
                <a16:creationId xmlns:a16="http://schemas.microsoft.com/office/drawing/2014/main" id="{CC543A1D-8AF6-43E7-B26A-BB3622D3A755}"/>
              </a:ext>
            </a:extLst>
          </p:cNvPr>
          <p:cNvSpPr/>
          <p:nvPr/>
        </p:nvSpPr>
        <p:spPr>
          <a:xfrm>
            <a:off x="4487010" y="5942971"/>
            <a:ext cx="807782" cy="204921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8100000" scaled="0"/>
          </a:gra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7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mmation</a:t>
            </a:r>
          </a:p>
        </p:txBody>
      </p:sp>
      <p:sp>
        <p:nvSpPr>
          <p:cNvPr id="114" name="Rectangle: Single Corner Rounded 158">
            <a:extLst>
              <a:ext uri="{FF2B5EF4-FFF2-40B4-BE49-F238E27FC236}">
                <a16:creationId xmlns:a16="http://schemas.microsoft.com/office/drawing/2014/main" id="{0448F5BE-1CEE-417A-A11E-B3B1880B3A89}"/>
              </a:ext>
            </a:extLst>
          </p:cNvPr>
          <p:cNvSpPr/>
          <p:nvPr/>
        </p:nvSpPr>
        <p:spPr>
          <a:xfrm>
            <a:off x="4489269" y="6169223"/>
            <a:ext cx="807782" cy="204921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8100000" scaled="0"/>
          </a:gra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ration</a:t>
            </a:r>
          </a:p>
        </p:txBody>
      </p:sp>
    </p:spTree>
    <p:extLst>
      <p:ext uri="{BB962C8B-B14F-4D97-AF65-F5344CB8AC3E}">
        <p14:creationId xmlns:p14="http://schemas.microsoft.com/office/powerpoint/2010/main" val="4184681779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5CA7F66C-804F-4EE1-A3C8-F5BA9D1F46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947" y="-26335"/>
            <a:ext cx="10377995" cy="547759"/>
          </a:xfrm>
        </p:spPr>
        <p:txBody>
          <a:bodyPr/>
          <a:lstStyle/>
          <a:p>
            <a:r>
              <a:rPr lang="fr-FR">
                <a:latin typeface="Arial"/>
                <a:cs typeface="Arial"/>
              </a:rPr>
              <a:t>Une conception du HUB permettant d’associer plusieurs solutions </a:t>
            </a:r>
            <a:r>
              <a:rPr lang="fr-FR" err="1">
                <a:latin typeface="Arial"/>
                <a:cs typeface="Arial"/>
              </a:rPr>
              <a:t>MaaS</a:t>
            </a:r>
            <a:r>
              <a:rPr lang="fr-FR">
                <a:latin typeface="Arial"/>
                <a:cs typeface="Arial"/>
              </a:rPr>
              <a:t> à plusieurs MSP de façon globale sur une plateforme partagée</a:t>
            </a:r>
          </a:p>
        </p:txBody>
      </p:sp>
      <p:sp>
        <p:nvSpPr>
          <p:cNvPr id="26" name="Rectangle: Rounded Corners 34">
            <a:extLst>
              <a:ext uri="{FF2B5EF4-FFF2-40B4-BE49-F238E27FC236}">
                <a16:creationId xmlns:a16="http://schemas.microsoft.com/office/drawing/2014/main" id="{5601F993-6736-4ABC-9153-EFBDE1DDC532}"/>
              </a:ext>
            </a:extLst>
          </p:cNvPr>
          <p:cNvSpPr/>
          <p:nvPr/>
        </p:nvSpPr>
        <p:spPr>
          <a:xfrm>
            <a:off x="3183521" y="5309269"/>
            <a:ext cx="3571937" cy="1044259"/>
          </a:xfrm>
          <a:prstGeom prst="roundRect">
            <a:avLst>
              <a:gd name="adj" fmla="val 9230"/>
            </a:avLst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rgbClr val="EEC1AC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algn="ctr">
              <a:defRPr/>
            </a:pPr>
            <a:endParaRPr lang="fr-FR" sz="1200" b="1" kern="0">
              <a:solidFill>
                <a:srgbClr val="5E5E5E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sp>
        <p:nvSpPr>
          <p:cNvPr id="35" name="Rectangle: Rounded Corners 44">
            <a:extLst>
              <a:ext uri="{FF2B5EF4-FFF2-40B4-BE49-F238E27FC236}">
                <a16:creationId xmlns:a16="http://schemas.microsoft.com/office/drawing/2014/main" id="{25461B34-E41C-4487-98DF-5CE0BB187D2A}"/>
              </a:ext>
            </a:extLst>
          </p:cNvPr>
          <p:cNvSpPr/>
          <p:nvPr/>
        </p:nvSpPr>
        <p:spPr>
          <a:xfrm>
            <a:off x="4687210" y="5365979"/>
            <a:ext cx="887684" cy="928186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Stationnement</a:t>
            </a:r>
          </a:p>
          <a:p>
            <a:pPr algn="ctr">
              <a:defRPr/>
            </a:pPr>
            <a:endParaRPr lang="fr-FR" sz="600" b="1" kern="0">
              <a:solidFill>
                <a:srgbClr val="5E5E5E"/>
              </a:solidFill>
              <a:latin typeface="Calibri" panose="020F0502020204030204" pitchFamily="34" charset="0"/>
              <a:cs typeface="Arial"/>
              <a:sym typeface="Arial"/>
            </a:endParaRPr>
          </a:p>
          <a:p>
            <a:pPr algn="ctr">
              <a:defRPr/>
            </a:pPr>
            <a:endParaRPr lang="fr-FR" sz="1050" kern="0">
              <a:solidFill>
                <a:srgbClr val="5E5E5E"/>
              </a:solidFill>
              <a:latin typeface="Corbel" panose="020B0503020204020204" pitchFamily="34" charset="0"/>
              <a:cs typeface="Arial"/>
              <a:sym typeface="Arial"/>
            </a:endParaRPr>
          </a:p>
        </p:txBody>
      </p:sp>
      <p:cxnSp>
        <p:nvCxnSpPr>
          <p:cNvPr id="46" name="Straight Arrow Connector 83">
            <a:extLst>
              <a:ext uri="{FF2B5EF4-FFF2-40B4-BE49-F238E27FC236}">
                <a16:creationId xmlns:a16="http://schemas.microsoft.com/office/drawing/2014/main" id="{3233919C-37DF-41C3-BED9-A453A3F0A39E}"/>
              </a:ext>
            </a:extLst>
          </p:cNvPr>
          <p:cNvCxnSpPr>
            <a:cxnSpLocks/>
          </p:cNvCxnSpPr>
          <p:nvPr/>
        </p:nvCxnSpPr>
        <p:spPr>
          <a:xfrm>
            <a:off x="5654992" y="2816782"/>
            <a:ext cx="0" cy="290923"/>
          </a:xfrm>
          <a:prstGeom prst="straightConnector1">
            <a:avLst/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9" name="Rectangle: Single Corner Rounded 1033">
            <a:extLst>
              <a:ext uri="{FF2B5EF4-FFF2-40B4-BE49-F238E27FC236}">
                <a16:creationId xmlns:a16="http://schemas.microsoft.com/office/drawing/2014/main" id="{E6DD4260-B16C-4F5B-AFF4-8FA4100F2F81}"/>
              </a:ext>
            </a:extLst>
          </p:cNvPr>
          <p:cNvSpPr/>
          <p:nvPr/>
        </p:nvSpPr>
        <p:spPr>
          <a:xfrm>
            <a:off x="3266020" y="5365979"/>
            <a:ext cx="640969" cy="140591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</a:t>
            </a:r>
          </a:p>
        </p:txBody>
      </p:sp>
      <p:sp>
        <p:nvSpPr>
          <p:cNvPr id="50" name="Rectangle: Single Corner Rounded 138">
            <a:extLst>
              <a:ext uri="{FF2B5EF4-FFF2-40B4-BE49-F238E27FC236}">
                <a16:creationId xmlns:a16="http://schemas.microsoft.com/office/drawing/2014/main" id="{155FF0D0-631A-47A7-AEAF-AD36C2EA8DFA}"/>
              </a:ext>
            </a:extLst>
          </p:cNvPr>
          <p:cNvSpPr/>
          <p:nvPr/>
        </p:nvSpPr>
        <p:spPr>
          <a:xfrm>
            <a:off x="3266020" y="5563059"/>
            <a:ext cx="640969" cy="140591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</a:t>
            </a:r>
          </a:p>
        </p:txBody>
      </p:sp>
      <p:sp>
        <p:nvSpPr>
          <p:cNvPr id="51" name="Rectangle: Single Corner Rounded 139">
            <a:extLst>
              <a:ext uri="{FF2B5EF4-FFF2-40B4-BE49-F238E27FC236}">
                <a16:creationId xmlns:a16="http://schemas.microsoft.com/office/drawing/2014/main" id="{FC2AFB5B-4EBE-4B20-8A5B-58F0D08E2E7E}"/>
              </a:ext>
            </a:extLst>
          </p:cNvPr>
          <p:cNvSpPr/>
          <p:nvPr/>
        </p:nvSpPr>
        <p:spPr>
          <a:xfrm>
            <a:off x="3266020" y="5761104"/>
            <a:ext cx="640969" cy="140591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52" name="Rectangle: Single Corner Rounded 140">
            <a:extLst>
              <a:ext uri="{FF2B5EF4-FFF2-40B4-BE49-F238E27FC236}">
                <a16:creationId xmlns:a16="http://schemas.microsoft.com/office/drawing/2014/main" id="{09591B8C-082D-4734-A521-88B25B9ADCCA}"/>
              </a:ext>
            </a:extLst>
          </p:cNvPr>
          <p:cNvSpPr/>
          <p:nvPr/>
        </p:nvSpPr>
        <p:spPr>
          <a:xfrm>
            <a:off x="3266020" y="5953620"/>
            <a:ext cx="640969" cy="140591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mmation</a:t>
            </a:r>
          </a:p>
        </p:txBody>
      </p:sp>
      <p:sp>
        <p:nvSpPr>
          <p:cNvPr id="53" name="Rectangle: Single Corner Rounded 141">
            <a:extLst>
              <a:ext uri="{FF2B5EF4-FFF2-40B4-BE49-F238E27FC236}">
                <a16:creationId xmlns:a16="http://schemas.microsoft.com/office/drawing/2014/main" id="{A95391DA-F7E6-4532-95EB-204C5EC4844A}"/>
              </a:ext>
            </a:extLst>
          </p:cNvPr>
          <p:cNvSpPr/>
          <p:nvPr/>
        </p:nvSpPr>
        <p:spPr>
          <a:xfrm>
            <a:off x="3266020" y="6153574"/>
            <a:ext cx="640969" cy="140591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ration</a:t>
            </a:r>
          </a:p>
        </p:txBody>
      </p:sp>
      <p:sp>
        <p:nvSpPr>
          <p:cNvPr id="54" name="Rectangle: Rounded Corners 34">
            <a:extLst>
              <a:ext uri="{FF2B5EF4-FFF2-40B4-BE49-F238E27FC236}">
                <a16:creationId xmlns:a16="http://schemas.microsoft.com/office/drawing/2014/main" id="{20FFCA16-F6AF-479D-94C9-5C53AAAEC2AA}"/>
              </a:ext>
            </a:extLst>
          </p:cNvPr>
          <p:cNvSpPr/>
          <p:nvPr/>
        </p:nvSpPr>
        <p:spPr>
          <a:xfrm>
            <a:off x="7439903" y="5321782"/>
            <a:ext cx="4403495" cy="1044259"/>
          </a:xfrm>
          <a:prstGeom prst="roundRect">
            <a:avLst>
              <a:gd name="adj" fmla="val 9230"/>
            </a:avLst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rgbClr val="EEC1AC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algn="ctr">
              <a:defRPr/>
            </a:pPr>
            <a:endParaRPr lang="fr-FR" sz="1200" b="1" kern="0">
              <a:solidFill>
                <a:srgbClr val="5E5E5E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DBBE51A-4ECE-4A02-8F75-0521C0FF7705}"/>
              </a:ext>
            </a:extLst>
          </p:cNvPr>
          <p:cNvCxnSpPr>
            <a:cxnSpLocks/>
          </p:cNvCxnSpPr>
          <p:nvPr/>
        </p:nvCxnSpPr>
        <p:spPr>
          <a:xfrm flipH="1">
            <a:off x="8684666" y="5130074"/>
            <a:ext cx="2590059" cy="10069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cxnSp>
        <p:nvCxnSpPr>
          <p:cNvPr id="57" name="Straight Connector 63">
            <a:extLst>
              <a:ext uri="{FF2B5EF4-FFF2-40B4-BE49-F238E27FC236}">
                <a16:creationId xmlns:a16="http://schemas.microsoft.com/office/drawing/2014/main" id="{F0DC4D26-E447-4330-929C-656E46A19411}"/>
              </a:ext>
            </a:extLst>
          </p:cNvPr>
          <p:cNvCxnSpPr>
            <a:cxnSpLocks/>
            <a:stCxn id="60" idx="0"/>
          </p:cNvCxnSpPr>
          <p:nvPr/>
        </p:nvCxnSpPr>
        <p:spPr>
          <a:xfrm flipV="1">
            <a:off x="8684666" y="5130074"/>
            <a:ext cx="0" cy="263957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cxnSp>
        <p:nvCxnSpPr>
          <p:cNvPr id="58" name="Straight Connector 64">
            <a:extLst>
              <a:ext uri="{FF2B5EF4-FFF2-40B4-BE49-F238E27FC236}">
                <a16:creationId xmlns:a16="http://schemas.microsoft.com/office/drawing/2014/main" id="{3E83C03A-4287-4E04-BC87-514D573E4278}"/>
              </a:ext>
            </a:extLst>
          </p:cNvPr>
          <p:cNvCxnSpPr>
            <a:cxnSpLocks/>
            <a:stCxn id="102" idx="0"/>
          </p:cNvCxnSpPr>
          <p:nvPr/>
        </p:nvCxnSpPr>
        <p:spPr>
          <a:xfrm flipH="1" flipV="1">
            <a:off x="9528002" y="5130074"/>
            <a:ext cx="3451" cy="263957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cxnSp>
        <p:nvCxnSpPr>
          <p:cNvPr id="59" name="Straight Connector 66">
            <a:extLst>
              <a:ext uri="{FF2B5EF4-FFF2-40B4-BE49-F238E27FC236}">
                <a16:creationId xmlns:a16="http://schemas.microsoft.com/office/drawing/2014/main" id="{9E01FF82-4383-4290-94A3-24EF8601C82F}"/>
              </a:ext>
            </a:extLst>
          </p:cNvPr>
          <p:cNvCxnSpPr>
            <a:cxnSpLocks/>
          </p:cNvCxnSpPr>
          <p:nvPr/>
        </p:nvCxnSpPr>
        <p:spPr>
          <a:xfrm flipV="1">
            <a:off x="11274725" y="5140143"/>
            <a:ext cx="0" cy="243923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sp>
        <p:nvSpPr>
          <p:cNvPr id="60" name="Rectangle: Rounded Corners 35">
            <a:extLst>
              <a:ext uri="{FF2B5EF4-FFF2-40B4-BE49-F238E27FC236}">
                <a16:creationId xmlns:a16="http://schemas.microsoft.com/office/drawing/2014/main" id="{4A7D7D64-3454-44A9-AF7D-6CD72EAA4AA2}"/>
              </a:ext>
            </a:extLst>
          </p:cNvPr>
          <p:cNvSpPr/>
          <p:nvPr/>
        </p:nvSpPr>
        <p:spPr>
          <a:xfrm>
            <a:off x="8293067" y="5394031"/>
            <a:ext cx="783198" cy="824378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Covoiturage</a:t>
            </a:r>
          </a:p>
        </p:txBody>
      </p:sp>
      <p:cxnSp>
        <p:nvCxnSpPr>
          <p:cNvPr id="63" name="Straight Connector 66">
            <a:extLst>
              <a:ext uri="{FF2B5EF4-FFF2-40B4-BE49-F238E27FC236}">
                <a16:creationId xmlns:a16="http://schemas.microsoft.com/office/drawing/2014/main" id="{B5A6FD65-E06E-4488-9F3E-864CD88539B5}"/>
              </a:ext>
            </a:extLst>
          </p:cNvPr>
          <p:cNvCxnSpPr>
            <a:cxnSpLocks/>
            <a:stCxn id="104" idx="0"/>
          </p:cNvCxnSpPr>
          <p:nvPr/>
        </p:nvCxnSpPr>
        <p:spPr>
          <a:xfrm flipV="1">
            <a:off x="10378240" y="5130074"/>
            <a:ext cx="0" cy="263957"/>
          </a:xfrm>
          <a:prstGeom prst="line">
            <a:avLst/>
          </a:prstGeom>
          <a:noFill/>
          <a:ln w="28575" cap="flat" cmpd="sng" algn="ctr">
            <a:solidFill>
              <a:srgbClr val="E39774"/>
            </a:solidFill>
            <a:prstDash val="solid"/>
            <a:miter lim="800000"/>
          </a:ln>
          <a:effectLst/>
        </p:spPr>
      </p:cxnSp>
      <p:sp>
        <p:nvSpPr>
          <p:cNvPr id="64" name="Rectangle: Single Corner Rounded 154">
            <a:extLst>
              <a:ext uri="{FF2B5EF4-FFF2-40B4-BE49-F238E27FC236}">
                <a16:creationId xmlns:a16="http://schemas.microsoft.com/office/drawing/2014/main" id="{277B3E08-858F-4DB7-9F81-ADF161AC7AA0}"/>
              </a:ext>
            </a:extLst>
          </p:cNvPr>
          <p:cNvSpPr/>
          <p:nvPr/>
        </p:nvSpPr>
        <p:spPr>
          <a:xfrm>
            <a:off x="7522402" y="5378492"/>
            <a:ext cx="640969" cy="140591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</a:t>
            </a:r>
          </a:p>
        </p:txBody>
      </p:sp>
      <p:sp>
        <p:nvSpPr>
          <p:cNvPr id="65" name="Rectangle: Single Corner Rounded 155">
            <a:extLst>
              <a:ext uri="{FF2B5EF4-FFF2-40B4-BE49-F238E27FC236}">
                <a16:creationId xmlns:a16="http://schemas.microsoft.com/office/drawing/2014/main" id="{E1E0AFB2-9483-49EC-BBE4-4AD3D283D1C1}"/>
              </a:ext>
            </a:extLst>
          </p:cNvPr>
          <p:cNvSpPr/>
          <p:nvPr/>
        </p:nvSpPr>
        <p:spPr>
          <a:xfrm>
            <a:off x="7522401" y="5575572"/>
            <a:ext cx="640969" cy="140591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2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8100000" scaled="0"/>
          </a:gra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</a:t>
            </a:r>
          </a:p>
        </p:txBody>
      </p:sp>
      <p:sp>
        <p:nvSpPr>
          <p:cNvPr id="66" name="Rectangle: Single Corner Rounded 156">
            <a:extLst>
              <a:ext uri="{FF2B5EF4-FFF2-40B4-BE49-F238E27FC236}">
                <a16:creationId xmlns:a16="http://schemas.microsoft.com/office/drawing/2014/main" id="{FC2F509F-CFBC-4DEA-BB47-D9808A0CEE98}"/>
              </a:ext>
            </a:extLst>
          </p:cNvPr>
          <p:cNvSpPr/>
          <p:nvPr/>
        </p:nvSpPr>
        <p:spPr>
          <a:xfrm>
            <a:off x="7522401" y="5773617"/>
            <a:ext cx="640969" cy="140591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8100000" scaled="0"/>
          </a:gra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67" name="Rectangle: Single Corner Rounded 157">
            <a:extLst>
              <a:ext uri="{FF2B5EF4-FFF2-40B4-BE49-F238E27FC236}">
                <a16:creationId xmlns:a16="http://schemas.microsoft.com/office/drawing/2014/main" id="{715C32CA-8D9C-478E-AE33-78DC860C6AC5}"/>
              </a:ext>
            </a:extLst>
          </p:cNvPr>
          <p:cNvSpPr/>
          <p:nvPr/>
        </p:nvSpPr>
        <p:spPr>
          <a:xfrm>
            <a:off x="7522401" y="5966133"/>
            <a:ext cx="640969" cy="140591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8100000" scaled="0"/>
          </a:gra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mmation</a:t>
            </a:r>
          </a:p>
        </p:txBody>
      </p:sp>
      <p:sp>
        <p:nvSpPr>
          <p:cNvPr id="68" name="Rectangle: Single Corner Rounded 158">
            <a:extLst>
              <a:ext uri="{FF2B5EF4-FFF2-40B4-BE49-F238E27FC236}">
                <a16:creationId xmlns:a16="http://schemas.microsoft.com/office/drawing/2014/main" id="{8B49FF4F-0209-4030-8BF4-85377105B042}"/>
              </a:ext>
            </a:extLst>
          </p:cNvPr>
          <p:cNvSpPr/>
          <p:nvPr/>
        </p:nvSpPr>
        <p:spPr>
          <a:xfrm>
            <a:off x="7522401" y="6166087"/>
            <a:ext cx="640969" cy="140591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8100000" scaled="0"/>
          </a:gra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ration</a:t>
            </a:r>
          </a:p>
        </p:txBody>
      </p:sp>
      <p:sp>
        <p:nvSpPr>
          <p:cNvPr id="70" name="Rectangle: Rounded Corners 50">
            <a:extLst>
              <a:ext uri="{FF2B5EF4-FFF2-40B4-BE49-F238E27FC236}">
                <a16:creationId xmlns:a16="http://schemas.microsoft.com/office/drawing/2014/main" id="{9B92FC8B-A88C-44B6-AEEA-33033AE350E4}"/>
              </a:ext>
            </a:extLst>
          </p:cNvPr>
          <p:cNvSpPr/>
          <p:nvPr/>
        </p:nvSpPr>
        <p:spPr>
          <a:xfrm>
            <a:off x="6267334" y="871197"/>
            <a:ext cx="1558296" cy="458590"/>
          </a:xfrm>
          <a:prstGeom prst="roundRect">
            <a:avLst>
              <a:gd name="adj" fmla="val 10460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1050" b="1" kern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MaaS</a:t>
            </a:r>
            <a:r>
              <a:rPr lang="fr-FR" sz="105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 2</a:t>
            </a:r>
          </a:p>
        </p:txBody>
      </p:sp>
      <p:sp>
        <p:nvSpPr>
          <p:cNvPr id="74" name="Rectangle: Rounded Corners 50">
            <a:extLst>
              <a:ext uri="{FF2B5EF4-FFF2-40B4-BE49-F238E27FC236}">
                <a16:creationId xmlns:a16="http://schemas.microsoft.com/office/drawing/2014/main" id="{425C6985-91A9-4B20-9F0D-B6291585EE64}"/>
              </a:ext>
            </a:extLst>
          </p:cNvPr>
          <p:cNvSpPr/>
          <p:nvPr/>
        </p:nvSpPr>
        <p:spPr>
          <a:xfrm>
            <a:off x="8819194" y="862963"/>
            <a:ext cx="1234846" cy="458590"/>
          </a:xfrm>
          <a:prstGeom prst="roundRect">
            <a:avLst>
              <a:gd name="adj" fmla="val 10460"/>
            </a:avLst>
          </a:prstGeom>
          <a:solidFill>
            <a:schemeClr val="accent6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1050" b="1" kern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MaaS</a:t>
            </a:r>
            <a:r>
              <a:rPr lang="fr-FR" sz="105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 3</a:t>
            </a:r>
          </a:p>
        </p:txBody>
      </p:sp>
      <p:sp>
        <p:nvSpPr>
          <p:cNvPr id="102" name="Rectangle: Rounded Corners 35">
            <a:extLst>
              <a:ext uri="{FF2B5EF4-FFF2-40B4-BE49-F238E27FC236}">
                <a16:creationId xmlns:a16="http://schemas.microsoft.com/office/drawing/2014/main" id="{7DD37378-B56F-4CA3-8DFB-60C17553A63C}"/>
              </a:ext>
            </a:extLst>
          </p:cNvPr>
          <p:cNvSpPr/>
          <p:nvPr/>
        </p:nvSpPr>
        <p:spPr>
          <a:xfrm>
            <a:off x="9139854" y="5394031"/>
            <a:ext cx="783198" cy="824378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Autopartage</a:t>
            </a:r>
          </a:p>
        </p:txBody>
      </p:sp>
      <p:sp>
        <p:nvSpPr>
          <p:cNvPr id="104" name="Rectangle: Rounded Corners 35">
            <a:extLst>
              <a:ext uri="{FF2B5EF4-FFF2-40B4-BE49-F238E27FC236}">
                <a16:creationId xmlns:a16="http://schemas.microsoft.com/office/drawing/2014/main" id="{136EABCD-D521-4D4D-950C-EC87F7C45339}"/>
              </a:ext>
            </a:extLst>
          </p:cNvPr>
          <p:cNvSpPr/>
          <p:nvPr/>
        </p:nvSpPr>
        <p:spPr>
          <a:xfrm>
            <a:off x="9986641" y="5394031"/>
            <a:ext cx="783198" cy="824378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600" b="1" kern="0" err="1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Freefloating</a:t>
            </a:r>
            <a:endParaRPr lang="fr-FR" sz="600" b="1" kern="0">
              <a:solidFill>
                <a:srgbClr val="5E5E5E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sp>
        <p:nvSpPr>
          <p:cNvPr id="105" name="Rectangle: Rounded Corners 35">
            <a:extLst>
              <a:ext uri="{FF2B5EF4-FFF2-40B4-BE49-F238E27FC236}">
                <a16:creationId xmlns:a16="http://schemas.microsoft.com/office/drawing/2014/main" id="{7FA1FD0E-0A06-4542-ABEC-857A0D633BC7}"/>
              </a:ext>
            </a:extLst>
          </p:cNvPr>
          <p:cNvSpPr/>
          <p:nvPr/>
        </p:nvSpPr>
        <p:spPr>
          <a:xfrm>
            <a:off x="10870777" y="5394031"/>
            <a:ext cx="783198" cy="824378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500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Stationnement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C2EBC37-0622-4920-99FE-4101794D29FE}"/>
              </a:ext>
            </a:extLst>
          </p:cNvPr>
          <p:cNvSpPr txBox="1"/>
          <p:nvPr/>
        </p:nvSpPr>
        <p:spPr>
          <a:xfrm>
            <a:off x="10705399" y="6171266"/>
            <a:ext cx="1113953" cy="2103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r" defTabSz="412750" hangingPunct="0">
              <a:defRPr/>
            </a:pPr>
            <a:r>
              <a:rPr lang="fr-FR" sz="700" b="1" kern="0">
                <a:solidFill>
                  <a:srgbClr val="D5D5D5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rvices MSP</a:t>
            </a:r>
          </a:p>
        </p:txBody>
      </p:sp>
      <p:sp>
        <p:nvSpPr>
          <p:cNvPr id="87" name="Rectangle: Rounded Corners 34">
            <a:extLst>
              <a:ext uri="{FF2B5EF4-FFF2-40B4-BE49-F238E27FC236}">
                <a16:creationId xmlns:a16="http://schemas.microsoft.com/office/drawing/2014/main" id="{9F943B94-344E-420C-BE2C-ABF73F3E083B}"/>
              </a:ext>
            </a:extLst>
          </p:cNvPr>
          <p:cNvSpPr/>
          <p:nvPr/>
        </p:nvSpPr>
        <p:spPr>
          <a:xfrm>
            <a:off x="287676" y="5321782"/>
            <a:ext cx="1596072" cy="625862"/>
          </a:xfrm>
          <a:prstGeom prst="roundRect">
            <a:avLst>
              <a:gd name="adj" fmla="val 9230"/>
            </a:avLst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rgbClr val="EEC1AC"/>
            </a:solidFill>
            <a:prstDash val="solid"/>
            <a:miter lim="800000"/>
          </a:ln>
          <a:effectLst/>
        </p:spPr>
        <p:txBody>
          <a:bodyPr rtlCol="0" anchor="b" anchorCtr="0"/>
          <a:lstStyle/>
          <a:p>
            <a:pPr algn="ctr">
              <a:defRPr/>
            </a:pPr>
            <a:endParaRPr lang="fr-FR" sz="1200" b="1" kern="0">
              <a:solidFill>
                <a:srgbClr val="5E5E5E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sp>
        <p:nvSpPr>
          <p:cNvPr id="89" name="Rectangle: Rounded Corners 34">
            <a:extLst>
              <a:ext uri="{FF2B5EF4-FFF2-40B4-BE49-F238E27FC236}">
                <a16:creationId xmlns:a16="http://schemas.microsoft.com/office/drawing/2014/main" id="{E3E95817-1416-4A82-9D29-D3143A7B7534}"/>
              </a:ext>
            </a:extLst>
          </p:cNvPr>
          <p:cNvSpPr/>
          <p:nvPr/>
        </p:nvSpPr>
        <p:spPr>
          <a:xfrm>
            <a:off x="1135061" y="5384066"/>
            <a:ext cx="616310" cy="409655"/>
          </a:xfrm>
          <a:prstGeom prst="roundRect">
            <a:avLst>
              <a:gd name="adj" fmla="val 33112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defRPr/>
            </a:pPr>
            <a:r>
              <a:rPr lang="fr-FR" sz="700" b="1" kern="0">
                <a:solidFill>
                  <a:srgbClr val="5E5E5E"/>
                </a:solidFill>
                <a:latin typeface="Calibri" panose="020F0502020204030204" pitchFamily="34" charset="0"/>
                <a:cs typeface="Arial"/>
                <a:sym typeface="Arial"/>
              </a:rPr>
              <a:t>Taxi / VTC</a:t>
            </a:r>
          </a:p>
        </p:txBody>
      </p:sp>
      <p:sp>
        <p:nvSpPr>
          <p:cNvPr id="91" name="Rectangle: Single Corner Rounded 1033">
            <a:extLst>
              <a:ext uri="{FF2B5EF4-FFF2-40B4-BE49-F238E27FC236}">
                <a16:creationId xmlns:a16="http://schemas.microsoft.com/office/drawing/2014/main" id="{AC905227-1D56-468E-86FC-7724E9743401}"/>
              </a:ext>
            </a:extLst>
          </p:cNvPr>
          <p:cNvSpPr/>
          <p:nvPr/>
        </p:nvSpPr>
        <p:spPr>
          <a:xfrm>
            <a:off x="370174" y="5378491"/>
            <a:ext cx="640969" cy="140591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600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C24DF05-3B05-4914-ACB7-6851308C594E}"/>
              </a:ext>
            </a:extLst>
          </p:cNvPr>
          <p:cNvSpPr txBox="1"/>
          <p:nvPr/>
        </p:nvSpPr>
        <p:spPr>
          <a:xfrm>
            <a:off x="628721" y="2922584"/>
            <a:ext cx="483080" cy="48218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Interfaces 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d’accès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MSP 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en direct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C814BB70-B83E-49C0-8B96-C01327404D68}"/>
              </a:ext>
            </a:extLst>
          </p:cNvPr>
          <p:cNvSpPr/>
          <p:nvPr/>
        </p:nvSpPr>
        <p:spPr bwMode="auto">
          <a:xfrm>
            <a:off x="7320034" y="5036769"/>
            <a:ext cx="4686919" cy="1451544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 anchorCtr="0"/>
          <a:lstStyle/>
          <a:p>
            <a:pPr defTabSz="1219169" hangingPunct="0">
              <a:defRPr/>
            </a:pPr>
            <a:endParaRPr lang="fr-FR" sz="525" kern="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A8D7E027-9C21-477A-8D24-761EEDF2531B}"/>
              </a:ext>
            </a:extLst>
          </p:cNvPr>
          <p:cNvSpPr/>
          <p:nvPr/>
        </p:nvSpPr>
        <p:spPr>
          <a:xfrm>
            <a:off x="4132720" y="1491943"/>
            <a:ext cx="4042888" cy="1725147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t" anchorCtr="0">
            <a:noAutofit/>
          </a:bodyPr>
          <a:lstStyle/>
          <a:p>
            <a:pPr algn="ctr" defTabSz="412750" hangingPunct="0">
              <a:defRPr/>
            </a:pPr>
            <a:r>
              <a:rPr lang="fr-FR" sz="1600" b="1" kern="0">
                <a:solidFill>
                  <a:srgbClr val="D5D5D5">
                    <a:lumMod val="25000"/>
                  </a:srgbClr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Editeur </a:t>
            </a:r>
            <a:r>
              <a:rPr lang="fr-FR" sz="1600" b="1" kern="0" err="1">
                <a:solidFill>
                  <a:srgbClr val="D5D5D5">
                    <a:lumMod val="25000"/>
                  </a:srgbClr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aaS</a:t>
            </a:r>
            <a:endParaRPr lang="fr-FR" sz="1600" b="1" kern="0">
              <a:solidFill>
                <a:srgbClr val="D5D5D5">
                  <a:lumMod val="25000"/>
                </a:srgbClr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42" name="Rectangle: Rounded Corners 28">
            <a:extLst>
              <a:ext uri="{FF2B5EF4-FFF2-40B4-BE49-F238E27FC236}">
                <a16:creationId xmlns:a16="http://schemas.microsoft.com/office/drawing/2014/main" id="{558F4B62-6E2E-45A7-9103-D94295AFCD7D}"/>
              </a:ext>
            </a:extLst>
          </p:cNvPr>
          <p:cNvSpPr/>
          <p:nvPr/>
        </p:nvSpPr>
        <p:spPr>
          <a:xfrm>
            <a:off x="4239451" y="1842731"/>
            <a:ext cx="3793927" cy="26343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2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</a:t>
            </a:r>
          </a:p>
        </p:txBody>
      </p:sp>
      <p:sp>
        <p:nvSpPr>
          <p:cNvPr id="143" name="Rectangle: Rounded Corners 30">
            <a:extLst>
              <a:ext uri="{FF2B5EF4-FFF2-40B4-BE49-F238E27FC236}">
                <a16:creationId xmlns:a16="http://schemas.microsoft.com/office/drawing/2014/main" id="{3360984B-B702-4F6A-8D99-00CA3FDC1297}"/>
              </a:ext>
            </a:extLst>
          </p:cNvPr>
          <p:cNvSpPr/>
          <p:nvPr/>
        </p:nvSpPr>
        <p:spPr>
          <a:xfrm>
            <a:off x="4239451" y="2211481"/>
            <a:ext cx="1408192" cy="3625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0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ystème d’Information Multimodale</a:t>
            </a:r>
          </a:p>
        </p:txBody>
      </p:sp>
      <p:sp>
        <p:nvSpPr>
          <p:cNvPr id="144" name="Rectangle: Rounded Corners 32">
            <a:extLst>
              <a:ext uri="{FF2B5EF4-FFF2-40B4-BE49-F238E27FC236}">
                <a16:creationId xmlns:a16="http://schemas.microsoft.com/office/drawing/2014/main" id="{DF87E71D-EA57-4C83-B803-5B6E2B63EE04}"/>
              </a:ext>
            </a:extLst>
          </p:cNvPr>
          <p:cNvSpPr/>
          <p:nvPr/>
        </p:nvSpPr>
        <p:spPr>
          <a:xfrm>
            <a:off x="5705089" y="2210680"/>
            <a:ext cx="666330" cy="36156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0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Billettique</a:t>
            </a:r>
          </a:p>
        </p:txBody>
      </p:sp>
      <p:sp>
        <p:nvSpPr>
          <p:cNvPr id="145" name="Rectangle: Rounded Corners 34">
            <a:extLst>
              <a:ext uri="{FF2B5EF4-FFF2-40B4-BE49-F238E27FC236}">
                <a16:creationId xmlns:a16="http://schemas.microsoft.com/office/drawing/2014/main" id="{865EF0F1-A559-457F-ACBA-630157048124}"/>
              </a:ext>
            </a:extLst>
          </p:cNvPr>
          <p:cNvSpPr/>
          <p:nvPr/>
        </p:nvSpPr>
        <p:spPr>
          <a:xfrm>
            <a:off x="6721227" y="2214371"/>
            <a:ext cx="1312154" cy="3625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0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mpte mobilité</a:t>
            </a:r>
          </a:p>
        </p:txBody>
      </p:sp>
      <p:sp>
        <p:nvSpPr>
          <p:cNvPr id="146" name="Rectangle: Rounded Corners 36">
            <a:extLst>
              <a:ext uri="{FF2B5EF4-FFF2-40B4-BE49-F238E27FC236}">
                <a16:creationId xmlns:a16="http://schemas.microsoft.com/office/drawing/2014/main" id="{7DBCA50D-2C84-4A41-B5A8-EA09394C24AB}"/>
              </a:ext>
            </a:extLst>
          </p:cNvPr>
          <p:cNvSpPr/>
          <p:nvPr/>
        </p:nvSpPr>
        <p:spPr>
          <a:xfrm>
            <a:off x="4239451" y="2837581"/>
            <a:ext cx="3793925" cy="306613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2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ata Hub</a:t>
            </a:r>
          </a:p>
        </p:txBody>
      </p:sp>
      <p:pic>
        <p:nvPicPr>
          <p:cNvPr id="147" name="Graphic 7" descr="Database outline">
            <a:extLst>
              <a:ext uri="{FF2B5EF4-FFF2-40B4-BE49-F238E27FC236}">
                <a16:creationId xmlns:a16="http://schemas.microsoft.com/office/drawing/2014/main" id="{BCAACE00-96C6-4E7B-95A7-32A48595F7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91000" y="2834064"/>
            <a:ext cx="313286" cy="313286"/>
          </a:xfrm>
          <a:prstGeom prst="rect">
            <a:avLst/>
          </a:prstGeom>
        </p:spPr>
      </p:pic>
      <p:pic>
        <p:nvPicPr>
          <p:cNvPr id="148" name="Graphic 9" descr="Internet Of Things outline">
            <a:extLst>
              <a:ext uri="{FF2B5EF4-FFF2-40B4-BE49-F238E27FC236}">
                <a16:creationId xmlns:a16="http://schemas.microsoft.com/office/drawing/2014/main" id="{0F4977E9-DD84-463D-A9DA-0B52AEB2B2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95008" y="1836881"/>
            <a:ext cx="263438" cy="263438"/>
          </a:xfrm>
          <a:prstGeom prst="rect">
            <a:avLst/>
          </a:prstGeom>
        </p:spPr>
      </p:pic>
      <p:cxnSp>
        <p:nvCxnSpPr>
          <p:cNvPr id="149" name="Straight Arrow Connector 63">
            <a:extLst>
              <a:ext uri="{FF2B5EF4-FFF2-40B4-BE49-F238E27FC236}">
                <a16:creationId xmlns:a16="http://schemas.microsoft.com/office/drawing/2014/main" id="{B069C909-0C74-4F58-8DEB-A70E78B20211}"/>
              </a:ext>
            </a:extLst>
          </p:cNvPr>
          <p:cNvCxnSpPr>
            <a:cxnSpLocks/>
          </p:cNvCxnSpPr>
          <p:nvPr/>
        </p:nvCxnSpPr>
        <p:spPr>
          <a:xfrm>
            <a:off x="4859547" y="2574051"/>
            <a:ext cx="0" cy="140891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0" name="Straight Arrow Connector 72">
            <a:extLst>
              <a:ext uri="{FF2B5EF4-FFF2-40B4-BE49-F238E27FC236}">
                <a16:creationId xmlns:a16="http://schemas.microsoft.com/office/drawing/2014/main" id="{A1205B90-3197-4526-BA99-B88BECE514D5}"/>
              </a:ext>
            </a:extLst>
          </p:cNvPr>
          <p:cNvCxnSpPr>
            <a:cxnSpLocks/>
          </p:cNvCxnSpPr>
          <p:nvPr/>
        </p:nvCxnSpPr>
        <p:spPr>
          <a:xfrm>
            <a:off x="6075045" y="2572242"/>
            <a:ext cx="0" cy="142699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1" name="Straight Arrow Connector 76">
            <a:extLst>
              <a:ext uri="{FF2B5EF4-FFF2-40B4-BE49-F238E27FC236}">
                <a16:creationId xmlns:a16="http://schemas.microsoft.com/office/drawing/2014/main" id="{F371BD48-985F-456E-8656-694AE13BFB01}"/>
              </a:ext>
            </a:extLst>
          </p:cNvPr>
          <p:cNvCxnSpPr>
            <a:cxnSpLocks/>
          </p:cNvCxnSpPr>
          <p:nvPr/>
        </p:nvCxnSpPr>
        <p:spPr>
          <a:xfrm>
            <a:off x="7350731" y="2559432"/>
            <a:ext cx="0" cy="155508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2" name="Straight Connector 77">
            <a:extLst>
              <a:ext uri="{FF2B5EF4-FFF2-40B4-BE49-F238E27FC236}">
                <a16:creationId xmlns:a16="http://schemas.microsoft.com/office/drawing/2014/main" id="{D1D3CB8A-81A3-4FA1-949D-609823AFFD33}"/>
              </a:ext>
            </a:extLst>
          </p:cNvPr>
          <p:cNvCxnSpPr>
            <a:cxnSpLocks/>
          </p:cNvCxnSpPr>
          <p:nvPr/>
        </p:nvCxnSpPr>
        <p:spPr>
          <a:xfrm>
            <a:off x="4843543" y="2697687"/>
            <a:ext cx="2507189" cy="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3" name="Straight Arrow Connector 81">
            <a:extLst>
              <a:ext uri="{FF2B5EF4-FFF2-40B4-BE49-F238E27FC236}">
                <a16:creationId xmlns:a16="http://schemas.microsoft.com/office/drawing/2014/main" id="{937BCADE-671C-44B5-AE8C-8321EE573600}"/>
              </a:ext>
            </a:extLst>
          </p:cNvPr>
          <p:cNvCxnSpPr>
            <a:cxnSpLocks/>
          </p:cNvCxnSpPr>
          <p:nvPr/>
        </p:nvCxnSpPr>
        <p:spPr>
          <a:xfrm>
            <a:off x="5687717" y="2694112"/>
            <a:ext cx="0" cy="140891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54" name="Rectangle: Rounded Corners 73">
            <a:extLst>
              <a:ext uri="{FF2B5EF4-FFF2-40B4-BE49-F238E27FC236}">
                <a16:creationId xmlns:a16="http://schemas.microsoft.com/office/drawing/2014/main" id="{325DA6E6-77B9-41D3-A3A0-D21EAEC222EA}"/>
              </a:ext>
            </a:extLst>
          </p:cNvPr>
          <p:cNvSpPr/>
          <p:nvPr/>
        </p:nvSpPr>
        <p:spPr>
          <a:xfrm>
            <a:off x="6422145" y="2210175"/>
            <a:ext cx="248356" cy="3625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1000" kern="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cxnSp>
        <p:nvCxnSpPr>
          <p:cNvPr id="71" name="Straight Arrow Connector 66">
            <a:extLst>
              <a:ext uri="{FF2B5EF4-FFF2-40B4-BE49-F238E27FC236}">
                <a16:creationId xmlns:a16="http://schemas.microsoft.com/office/drawing/2014/main" id="{2EC89777-90CD-45FB-8483-A9BBD0C32819}"/>
              </a:ext>
            </a:extLst>
          </p:cNvPr>
          <p:cNvCxnSpPr>
            <a:cxnSpLocks/>
            <a:stCxn id="70" idx="2"/>
          </p:cNvCxnSpPr>
          <p:nvPr/>
        </p:nvCxnSpPr>
        <p:spPr>
          <a:xfrm>
            <a:off x="7046482" y="1329787"/>
            <a:ext cx="0" cy="512944"/>
          </a:xfrm>
          <a:prstGeom prst="straightConnector1">
            <a:avLst/>
          </a:prstGeom>
          <a:ln w="5715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3" name="Rectangle: Rounded Corners 50">
            <a:extLst>
              <a:ext uri="{FF2B5EF4-FFF2-40B4-BE49-F238E27FC236}">
                <a16:creationId xmlns:a16="http://schemas.microsoft.com/office/drawing/2014/main" id="{99D7B69D-DDCD-493E-BE0E-828D212EB050}"/>
              </a:ext>
            </a:extLst>
          </p:cNvPr>
          <p:cNvSpPr/>
          <p:nvPr/>
        </p:nvSpPr>
        <p:spPr>
          <a:xfrm>
            <a:off x="3735105" y="870741"/>
            <a:ext cx="1558296" cy="458590"/>
          </a:xfrm>
          <a:prstGeom prst="roundRect">
            <a:avLst>
              <a:gd name="adj" fmla="val 10460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1050" b="1" kern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MaaS</a:t>
            </a:r>
            <a:r>
              <a:rPr lang="fr-FR" sz="105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 1</a:t>
            </a:r>
          </a:p>
        </p:txBody>
      </p:sp>
      <p:cxnSp>
        <p:nvCxnSpPr>
          <p:cNvPr id="41" name="Straight Arrow Connector 67">
            <a:extLst>
              <a:ext uri="{FF2B5EF4-FFF2-40B4-BE49-F238E27FC236}">
                <a16:creationId xmlns:a16="http://schemas.microsoft.com/office/drawing/2014/main" id="{AAE95786-49D2-45FE-A624-A07ED8CD1CC5}"/>
              </a:ext>
            </a:extLst>
          </p:cNvPr>
          <p:cNvCxnSpPr>
            <a:cxnSpLocks/>
            <a:stCxn id="23" idx="2"/>
          </p:cNvCxnSpPr>
          <p:nvPr/>
        </p:nvCxnSpPr>
        <p:spPr>
          <a:xfrm>
            <a:off x="4514253" y="1329331"/>
            <a:ext cx="1" cy="513401"/>
          </a:xfrm>
          <a:prstGeom prst="straightConnector1">
            <a:avLst/>
          </a:prstGeom>
          <a:ln w="5715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57" name="Rectangle 156">
            <a:extLst>
              <a:ext uri="{FF2B5EF4-FFF2-40B4-BE49-F238E27FC236}">
                <a16:creationId xmlns:a16="http://schemas.microsoft.com/office/drawing/2014/main" id="{1E208AC7-549B-4F84-B2AF-35EA501A466D}"/>
              </a:ext>
            </a:extLst>
          </p:cNvPr>
          <p:cNvSpPr/>
          <p:nvPr/>
        </p:nvSpPr>
        <p:spPr bwMode="auto">
          <a:xfrm>
            <a:off x="3071130" y="5036769"/>
            <a:ext cx="3829331" cy="1460030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 anchorCtr="0"/>
          <a:lstStyle/>
          <a:p>
            <a:pPr defTabSz="1219169" hangingPunct="0">
              <a:defRPr/>
            </a:pPr>
            <a:endParaRPr lang="fr-FR" sz="525" kern="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14E2D0E2-1A30-4070-96FD-B2749F2D0D2F}"/>
              </a:ext>
            </a:extLst>
          </p:cNvPr>
          <p:cNvCxnSpPr>
            <a:cxnSpLocks/>
            <a:stCxn id="146" idx="1"/>
            <a:endCxn id="87" idx="0"/>
          </p:cNvCxnSpPr>
          <p:nvPr/>
        </p:nvCxnSpPr>
        <p:spPr>
          <a:xfrm rot="10800000" flipV="1">
            <a:off x="1085712" y="2990887"/>
            <a:ext cx="3153740" cy="2330895"/>
          </a:xfrm>
          <a:prstGeom prst="bentConnector2">
            <a:avLst/>
          </a:prstGeom>
          <a:ln w="5715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0" name="Rectangle: Rounded Corners 54">
            <a:extLst>
              <a:ext uri="{FF2B5EF4-FFF2-40B4-BE49-F238E27FC236}">
                <a16:creationId xmlns:a16="http://schemas.microsoft.com/office/drawing/2014/main" id="{B659D580-E794-47BC-8C85-B1FDC9C350C5}"/>
              </a:ext>
            </a:extLst>
          </p:cNvPr>
          <p:cNvSpPr/>
          <p:nvPr/>
        </p:nvSpPr>
        <p:spPr>
          <a:xfrm>
            <a:off x="5014838" y="3711212"/>
            <a:ext cx="4788732" cy="1265685"/>
          </a:xfrm>
          <a:prstGeom prst="roundRect">
            <a:avLst>
              <a:gd name="adj" fmla="val 29146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tIns="0" rtlCol="0" anchor="t"/>
          <a:lstStyle/>
          <a:p>
            <a:pPr algn="r">
              <a:defRPr/>
            </a:pPr>
            <a:r>
              <a:rPr lang="fr-FR" sz="120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    HUB « Std </a:t>
            </a:r>
            <a:r>
              <a:rPr lang="fr-FR" sz="1200" b="1" kern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MaaS</a:t>
            </a:r>
            <a:r>
              <a:rPr lang="fr-FR" sz="120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 »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D339A41A-9356-4199-82D2-82195D6D2084}"/>
              </a:ext>
            </a:extLst>
          </p:cNvPr>
          <p:cNvSpPr/>
          <p:nvPr/>
        </p:nvSpPr>
        <p:spPr>
          <a:xfrm>
            <a:off x="5297031" y="3755064"/>
            <a:ext cx="2338326" cy="211031"/>
          </a:xfrm>
          <a:prstGeom prst="roundRect">
            <a:avLst>
              <a:gd name="adj" fmla="val 29146"/>
            </a:avLst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9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API </a:t>
            </a:r>
            <a:r>
              <a:rPr lang="fr-FR" sz="900" b="1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MaaS</a:t>
            </a:r>
            <a:endParaRPr lang="fr-FR" sz="900" b="1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cs typeface="Arial"/>
              <a:sym typeface="Arial"/>
            </a:endParaRPr>
          </a:p>
        </p:txBody>
      </p:sp>
      <p:sp>
        <p:nvSpPr>
          <p:cNvPr id="162" name="Rectangle: Rounded Corners 54">
            <a:extLst>
              <a:ext uri="{FF2B5EF4-FFF2-40B4-BE49-F238E27FC236}">
                <a16:creationId xmlns:a16="http://schemas.microsoft.com/office/drawing/2014/main" id="{4EA033B1-A8D5-4D4C-884C-09FABA15002A}"/>
              </a:ext>
            </a:extLst>
          </p:cNvPr>
          <p:cNvSpPr/>
          <p:nvPr/>
        </p:nvSpPr>
        <p:spPr>
          <a:xfrm>
            <a:off x="5131052" y="4018020"/>
            <a:ext cx="4160913" cy="887288"/>
          </a:xfrm>
          <a:prstGeom prst="roundRect">
            <a:avLst>
              <a:gd name="adj" fmla="val 2914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6">
                  <a:lumMod val="50000"/>
                </a:schemeClr>
              </a:gs>
              <a:gs pos="83000">
                <a:schemeClr val="accent6">
                  <a:lumMod val="50000"/>
                </a:schemeClr>
              </a:gs>
              <a:gs pos="100000">
                <a:schemeClr val="accent6">
                  <a:lumMod val="50000"/>
                </a:schemeClr>
              </a:gs>
            </a:gsLst>
            <a:lin ang="81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>
              <a:defRPr/>
            </a:pPr>
            <a:r>
              <a:rPr lang="fr-FR" sz="8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Arial"/>
                <a:sym typeface="Arial"/>
              </a:rPr>
              <a:t>Adaptateurs MSP</a:t>
            </a:r>
          </a:p>
        </p:txBody>
      </p:sp>
      <p:sp>
        <p:nvSpPr>
          <p:cNvPr id="164" name="Rectangle: Single Corner Rounded 1033">
            <a:extLst>
              <a:ext uri="{FF2B5EF4-FFF2-40B4-BE49-F238E27FC236}">
                <a16:creationId xmlns:a16="http://schemas.microsoft.com/office/drawing/2014/main" id="{EE9ED69D-629C-42BF-B722-FD1239F4A1AF}"/>
              </a:ext>
            </a:extLst>
          </p:cNvPr>
          <p:cNvSpPr/>
          <p:nvPr/>
        </p:nvSpPr>
        <p:spPr>
          <a:xfrm>
            <a:off x="5272498" y="4257996"/>
            <a:ext cx="613496" cy="186811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Covoiturage</a:t>
            </a:r>
          </a:p>
        </p:txBody>
      </p:sp>
      <p:sp>
        <p:nvSpPr>
          <p:cNvPr id="165" name="Rectangle: Single Corner Rounded 1033">
            <a:extLst>
              <a:ext uri="{FF2B5EF4-FFF2-40B4-BE49-F238E27FC236}">
                <a16:creationId xmlns:a16="http://schemas.microsoft.com/office/drawing/2014/main" id="{758046EA-ECA4-4A32-B61C-3EC7CA547752}"/>
              </a:ext>
            </a:extLst>
          </p:cNvPr>
          <p:cNvSpPr/>
          <p:nvPr/>
        </p:nvSpPr>
        <p:spPr>
          <a:xfrm>
            <a:off x="5951299" y="4266238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Autopartage</a:t>
            </a:r>
          </a:p>
        </p:txBody>
      </p:sp>
      <p:sp>
        <p:nvSpPr>
          <p:cNvPr id="166" name="Rectangle: Single Corner Rounded 1033">
            <a:extLst>
              <a:ext uri="{FF2B5EF4-FFF2-40B4-BE49-F238E27FC236}">
                <a16:creationId xmlns:a16="http://schemas.microsoft.com/office/drawing/2014/main" id="{94A39A66-FD5E-4572-B174-6C1C31B1BB42}"/>
              </a:ext>
            </a:extLst>
          </p:cNvPr>
          <p:cNvSpPr/>
          <p:nvPr/>
        </p:nvSpPr>
        <p:spPr>
          <a:xfrm>
            <a:off x="6614277" y="4274378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</a:t>
            </a:r>
            <a:r>
              <a:rPr lang="fr-FR" sz="525" b="1" kern="0" err="1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reefloating</a:t>
            </a:r>
            <a:endParaRPr lang="fr-FR" sz="525" b="1" kern="0">
              <a:solidFill>
                <a:srgbClr val="000000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67" name="Rectangle: Single Corner Rounded 1033">
            <a:extLst>
              <a:ext uri="{FF2B5EF4-FFF2-40B4-BE49-F238E27FC236}">
                <a16:creationId xmlns:a16="http://schemas.microsoft.com/office/drawing/2014/main" id="{94225F1C-4A6A-414B-96EF-CD006A8C3BC6}"/>
              </a:ext>
            </a:extLst>
          </p:cNvPr>
          <p:cNvSpPr/>
          <p:nvPr/>
        </p:nvSpPr>
        <p:spPr>
          <a:xfrm>
            <a:off x="7287743" y="4272072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Stationnement</a:t>
            </a:r>
          </a:p>
        </p:txBody>
      </p:sp>
      <p:sp>
        <p:nvSpPr>
          <p:cNvPr id="168" name="Rectangle: Single Corner Rounded 1033">
            <a:extLst>
              <a:ext uri="{FF2B5EF4-FFF2-40B4-BE49-F238E27FC236}">
                <a16:creationId xmlns:a16="http://schemas.microsoft.com/office/drawing/2014/main" id="{AC4F2BEA-D777-41D9-8A4F-77E17CE8C304}"/>
              </a:ext>
            </a:extLst>
          </p:cNvPr>
          <p:cNvSpPr/>
          <p:nvPr/>
        </p:nvSpPr>
        <p:spPr>
          <a:xfrm>
            <a:off x="7960360" y="4271266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mmation</a:t>
            </a:r>
            <a:endParaRPr lang="fr-FR" sz="525" b="1" kern="0">
              <a:solidFill>
                <a:srgbClr val="000000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algn="ctr" defTabSz="412750" hangingPunct="0">
              <a:defRPr/>
            </a:pPr>
            <a:r>
              <a:rPr lang="fr-FR" sz="525" b="1"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tationnement</a:t>
            </a:r>
            <a:endParaRPr lang="fr-FR" sz="525" b="1" kern="0">
              <a:solidFill>
                <a:srgbClr val="000000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69" name="Rectangle: Single Corner Rounded 1033">
            <a:extLst>
              <a:ext uri="{FF2B5EF4-FFF2-40B4-BE49-F238E27FC236}">
                <a16:creationId xmlns:a16="http://schemas.microsoft.com/office/drawing/2014/main" id="{6829C579-7863-41D4-8128-3B47C91FBA1E}"/>
              </a:ext>
            </a:extLst>
          </p:cNvPr>
          <p:cNvSpPr/>
          <p:nvPr/>
        </p:nvSpPr>
        <p:spPr>
          <a:xfrm>
            <a:off x="5272498" y="4471757"/>
            <a:ext cx="613496" cy="186811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Covoiturage</a:t>
            </a:r>
          </a:p>
        </p:txBody>
      </p:sp>
      <p:sp>
        <p:nvSpPr>
          <p:cNvPr id="170" name="Rectangle: Single Corner Rounded 1033">
            <a:extLst>
              <a:ext uri="{FF2B5EF4-FFF2-40B4-BE49-F238E27FC236}">
                <a16:creationId xmlns:a16="http://schemas.microsoft.com/office/drawing/2014/main" id="{EED6312A-CC9E-45F5-8995-5E3A77800EE2}"/>
              </a:ext>
            </a:extLst>
          </p:cNvPr>
          <p:cNvSpPr/>
          <p:nvPr/>
        </p:nvSpPr>
        <p:spPr>
          <a:xfrm>
            <a:off x="5951299" y="4479999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Autopartage</a:t>
            </a:r>
          </a:p>
        </p:txBody>
      </p:sp>
      <p:sp>
        <p:nvSpPr>
          <p:cNvPr id="171" name="Rectangle: Single Corner Rounded 1033">
            <a:extLst>
              <a:ext uri="{FF2B5EF4-FFF2-40B4-BE49-F238E27FC236}">
                <a16:creationId xmlns:a16="http://schemas.microsoft.com/office/drawing/2014/main" id="{E96341DC-195C-420A-926E-1B95A752815F}"/>
              </a:ext>
            </a:extLst>
          </p:cNvPr>
          <p:cNvSpPr/>
          <p:nvPr/>
        </p:nvSpPr>
        <p:spPr>
          <a:xfrm>
            <a:off x="6614277" y="4488139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</a:t>
            </a:r>
            <a:r>
              <a:rPr lang="fr-FR" sz="525" b="1" kern="0" err="1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reefloating</a:t>
            </a:r>
            <a:endParaRPr lang="fr-FR" sz="525" b="1" kern="0">
              <a:solidFill>
                <a:srgbClr val="000000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72" name="Rectangle: Single Corner Rounded 1033">
            <a:extLst>
              <a:ext uri="{FF2B5EF4-FFF2-40B4-BE49-F238E27FC236}">
                <a16:creationId xmlns:a16="http://schemas.microsoft.com/office/drawing/2014/main" id="{0D983A47-886A-4C2D-A9C5-5ED7F1171F94}"/>
              </a:ext>
            </a:extLst>
          </p:cNvPr>
          <p:cNvSpPr/>
          <p:nvPr/>
        </p:nvSpPr>
        <p:spPr>
          <a:xfrm>
            <a:off x="7287743" y="4485833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Stationnement</a:t>
            </a:r>
          </a:p>
        </p:txBody>
      </p:sp>
      <p:sp>
        <p:nvSpPr>
          <p:cNvPr id="173" name="Rectangle: Single Corner Rounded 1033">
            <a:extLst>
              <a:ext uri="{FF2B5EF4-FFF2-40B4-BE49-F238E27FC236}">
                <a16:creationId xmlns:a16="http://schemas.microsoft.com/office/drawing/2014/main" id="{F463F42C-DB3E-4F81-A32B-07A1D31DB53B}"/>
              </a:ext>
            </a:extLst>
          </p:cNvPr>
          <p:cNvSpPr/>
          <p:nvPr/>
        </p:nvSpPr>
        <p:spPr>
          <a:xfrm>
            <a:off x="7960360" y="4485028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ration </a:t>
            </a:r>
          </a:p>
          <a:p>
            <a:pPr algn="ctr" defTabSz="412750" hangingPunct="0">
              <a:defRPr/>
            </a:pPr>
            <a:r>
              <a:rPr lang="fr-FR" sz="525" b="1"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tationnement</a:t>
            </a:r>
            <a:endParaRPr lang="fr-FR" sz="525" b="1" kern="0">
              <a:solidFill>
                <a:srgbClr val="000000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74" name="Rectangle: Single Corner Rounded 1033">
            <a:extLst>
              <a:ext uri="{FF2B5EF4-FFF2-40B4-BE49-F238E27FC236}">
                <a16:creationId xmlns:a16="http://schemas.microsoft.com/office/drawing/2014/main" id="{D30C63E2-88FB-4490-A7DC-ED7BF87FAA66}"/>
              </a:ext>
            </a:extLst>
          </p:cNvPr>
          <p:cNvSpPr/>
          <p:nvPr/>
        </p:nvSpPr>
        <p:spPr>
          <a:xfrm>
            <a:off x="7287743" y="4690962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 Stationnement</a:t>
            </a:r>
          </a:p>
        </p:txBody>
      </p:sp>
      <p:sp>
        <p:nvSpPr>
          <p:cNvPr id="176" name="Rectangle: Single Corner Rounded 1033">
            <a:extLst>
              <a:ext uri="{FF2B5EF4-FFF2-40B4-BE49-F238E27FC236}">
                <a16:creationId xmlns:a16="http://schemas.microsoft.com/office/drawing/2014/main" id="{95CB0CD8-2A9E-4D6D-AB41-5A7B5ACD0E82}"/>
              </a:ext>
            </a:extLst>
          </p:cNvPr>
          <p:cNvSpPr/>
          <p:nvPr/>
        </p:nvSpPr>
        <p:spPr>
          <a:xfrm>
            <a:off x="7015955" y="4697930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77" name="Rectangle: Single Corner Rounded 1033">
            <a:extLst>
              <a:ext uri="{FF2B5EF4-FFF2-40B4-BE49-F238E27FC236}">
                <a16:creationId xmlns:a16="http://schemas.microsoft.com/office/drawing/2014/main" id="{9788EF42-07D8-4122-9B60-837168E593EF}"/>
              </a:ext>
            </a:extLst>
          </p:cNvPr>
          <p:cNvSpPr/>
          <p:nvPr/>
        </p:nvSpPr>
        <p:spPr>
          <a:xfrm>
            <a:off x="5938285" y="4708013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78" name="Rectangle: Single Corner Rounded 1033">
            <a:extLst>
              <a:ext uri="{FF2B5EF4-FFF2-40B4-BE49-F238E27FC236}">
                <a16:creationId xmlns:a16="http://schemas.microsoft.com/office/drawing/2014/main" id="{4E255253-3391-407B-A27B-68F15E8163E3}"/>
              </a:ext>
            </a:extLst>
          </p:cNvPr>
          <p:cNvSpPr/>
          <p:nvPr/>
        </p:nvSpPr>
        <p:spPr>
          <a:xfrm>
            <a:off x="5278319" y="4697443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79" name="Rectangle: Single Corner Rounded 1033">
            <a:extLst>
              <a:ext uri="{FF2B5EF4-FFF2-40B4-BE49-F238E27FC236}">
                <a16:creationId xmlns:a16="http://schemas.microsoft.com/office/drawing/2014/main" id="{F7F776DD-A1C8-4367-B17D-35E8D52DB2C3}"/>
              </a:ext>
            </a:extLst>
          </p:cNvPr>
          <p:cNvSpPr/>
          <p:nvPr/>
        </p:nvSpPr>
        <p:spPr>
          <a:xfrm>
            <a:off x="5532721" y="4700630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80" name="Rectangle: Single Corner Rounded 1033">
            <a:extLst>
              <a:ext uri="{FF2B5EF4-FFF2-40B4-BE49-F238E27FC236}">
                <a16:creationId xmlns:a16="http://schemas.microsoft.com/office/drawing/2014/main" id="{75081966-0C5B-4181-9DE8-3BF4D46CA894}"/>
              </a:ext>
            </a:extLst>
          </p:cNvPr>
          <p:cNvSpPr/>
          <p:nvPr/>
        </p:nvSpPr>
        <p:spPr>
          <a:xfrm>
            <a:off x="6187596" y="4714046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81" name="Rectangle: Single Corner Rounded 1033">
            <a:extLst>
              <a:ext uri="{FF2B5EF4-FFF2-40B4-BE49-F238E27FC236}">
                <a16:creationId xmlns:a16="http://schemas.microsoft.com/office/drawing/2014/main" id="{DE25BFF7-1CBD-40D6-9F5C-2EB5D5169AD9}"/>
              </a:ext>
            </a:extLst>
          </p:cNvPr>
          <p:cNvSpPr/>
          <p:nvPr/>
        </p:nvSpPr>
        <p:spPr>
          <a:xfrm>
            <a:off x="6756668" y="4705930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C6610F5B-0028-460B-A85D-3FE9C9535D72}"/>
              </a:ext>
            </a:extLst>
          </p:cNvPr>
          <p:cNvSpPr txBox="1"/>
          <p:nvPr/>
        </p:nvSpPr>
        <p:spPr>
          <a:xfrm>
            <a:off x="5556548" y="6171266"/>
            <a:ext cx="1113953" cy="2103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r" defTabSz="412750" hangingPunct="0">
              <a:defRPr/>
            </a:pPr>
            <a:r>
              <a:rPr lang="fr-FR" sz="700" b="1" kern="0">
                <a:solidFill>
                  <a:srgbClr val="D5D5D5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ervices MSP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553727F6-03A8-4407-92DE-43AC029968B1}"/>
              </a:ext>
            </a:extLst>
          </p:cNvPr>
          <p:cNvSpPr txBox="1"/>
          <p:nvPr/>
        </p:nvSpPr>
        <p:spPr>
          <a:xfrm>
            <a:off x="9593289" y="4901258"/>
            <a:ext cx="621860" cy="3744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Interfaces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d’accès MSP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en direct</a:t>
            </a:r>
          </a:p>
        </p:txBody>
      </p:sp>
      <p:cxnSp>
        <p:nvCxnSpPr>
          <p:cNvPr id="213" name="Straight Arrow Connector 87">
            <a:extLst>
              <a:ext uri="{FF2B5EF4-FFF2-40B4-BE49-F238E27FC236}">
                <a16:creationId xmlns:a16="http://schemas.microsoft.com/office/drawing/2014/main" id="{D288325F-5F27-4F54-B02A-E2B91972ABD4}"/>
              </a:ext>
            </a:extLst>
          </p:cNvPr>
          <p:cNvCxnSpPr>
            <a:cxnSpLocks/>
            <a:endCxn id="35" idx="0"/>
          </p:cNvCxnSpPr>
          <p:nvPr/>
        </p:nvCxnSpPr>
        <p:spPr>
          <a:xfrm>
            <a:off x="5131052" y="4794203"/>
            <a:ext cx="0" cy="571776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17" name="TextBox 216">
            <a:extLst>
              <a:ext uri="{FF2B5EF4-FFF2-40B4-BE49-F238E27FC236}">
                <a16:creationId xmlns:a16="http://schemas.microsoft.com/office/drawing/2014/main" id="{8A73BB74-64DC-43C8-8561-32D9C248D039}"/>
              </a:ext>
            </a:extLst>
          </p:cNvPr>
          <p:cNvSpPr txBox="1"/>
          <p:nvPr/>
        </p:nvSpPr>
        <p:spPr>
          <a:xfrm>
            <a:off x="5208271" y="5046900"/>
            <a:ext cx="621860" cy="3744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Interfaces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d’accès MSP</a:t>
            </a:r>
          </a:p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en direct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373EB0C4-2872-4AD4-B2A2-4900205F63AB}"/>
              </a:ext>
            </a:extLst>
          </p:cNvPr>
          <p:cNvSpPr txBox="1"/>
          <p:nvPr/>
        </p:nvSpPr>
        <p:spPr>
          <a:xfrm>
            <a:off x="4700680" y="3425035"/>
            <a:ext cx="1433080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>
              <a:defRPr/>
            </a:pP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1 unique interface </a:t>
            </a:r>
            <a:r>
              <a:rPr lang="fr-FR" sz="700" kern="0" err="1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MaaS</a:t>
            </a:r>
            <a:r>
              <a:rPr lang="fr-FR" sz="700" kern="0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 d’accès MSP Fédération 1  / Fédération 2</a:t>
            </a:r>
          </a:p>
        </p:txBody>
      </p: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246688F1-F531-470A-84FC-E2D4BEFD19D0}"/>
              </a:ext>
            </a:extLst>
          </p:cNvPr>
          <p:cNvCxnSpPr>
            <a:cxnSpLocks/>
            <a:stCxn id="74" idx="2"/>
            <a:endCxn id="161" idx="0"/>
          </p:cNvCxnSpPr>
          <p:nvPr/>
        </p:nvCxnSpPr>
        <p:spPr>
          <a:xfrm rot="5400000">
            <a:off x="6734650" y="1053097"/>
            <a:ext cx="2433511" cy="2970423"/>
          </a:xfrm>
          <a:prstGeom prst="bentConnector3">
            <a:avLst>
              <a:gd name="adj1" fmla="val 85803"/>
            </a:avLst>
          </a:prstGeom>
          <a:ln w="5715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83">
            <a:extLst>
              <a:ext uri="{FF2B5EF4-FFF2-40B4-BE49-F238E27FC236}">
                <a16:creationId xmlns:a16="http://schemas.microsoft.com/office/drawing/2014/main" id="{C85FED70-E1AF-49B2-96C4-EF7CA571C174}"/>
              </a:ext>
            </a:extLst>
          </p:cNvPr>
          <p:cNvCxnSpPr>
            <a:cxnSpLocks/>
          </p:cNvCxnSpPr>
          <p:nvPr/>
        </p:nvCxnSpPr>
        <p:spPr>
          <a:xfrm>
            <a:off x="7170747" y="3098659"/>
            <a:ext cx="7122" cy="664595"/>
          </a:xfrm>
          <a:prstGeom prst="straightConnector1">
            <a:avLst/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5" name="Straight Arrow Connector 83">
            <a:extLst>
              <a:ext uri="{FF2B5EF4-FFF2-40B4-BE49-F238E27FC236}">
                <a16:creationId xmlns:a16="http://schemas.microsoft.com/office/drawing/2014/main" id="{9DCF0050-CDB9-4782-83D6-17E6EFC83345}"/>
              </a:ext>
            </a:extLst>
          </p:cNvPr>
          <p:cNvCxnSpPr>
            <a:cxnSpLocks/>
            <a:stCxn id="146" idx="2"/>
          </p:cNvCxnSpPr>
          <p:nvPr/>
        </p:nvCxnSpPr>
        <p:spPr>
          <a:xfrm>
            <a:off x="6136414" y="3144194"/>
            <a:ext cx="0" cy="644283"/>
          </a:xfrm>
          <a:prstGeom prst="straightConnector1">
            <a:avLst/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2" name="Picture 12" descr="Impact de l&amp;#39;ouverture à la concurrence dans le transport ferroviaire  régional de voyageurs sur la consommation d&amp;#39;énergie et sur les émissions de  carbone - Trans-Missions">
            <a:extLst>
              <a:ext uri="{FF2B5EF4-FFF2-40B4-BE49-F238E27FC236}">
                <a16:creationId xmlns:a16="http://schemas.microsoft.com/office/drawing/2014/main" id="{2F7DA61F-F51F-4948-B8FC-905CC7FD18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79" t="11636" r="17241" b="9910"/>
          <a:stretch/>
        </p:blipFill>
        <p:spPr bwMode="auto">
          <a:xfrm>
            <a:off x="9351085" y="4108379"/>
            <a:ext cx="345806" cy="235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Rectangle: Single Corner Rounded 1033">
            <a:extLst>
              <a:ext uri="{FF2B5EF4-FFF2-40B4-BE49-F238E27FC236}">
                <a16:creationId xmlns:a16="http://schemas.microsoft.com/office/drawing/2014/main" id="{817DD930-40E9-4626-9064-2203BE3FA591}"/>
              </a:ext>
            </a:extLst>
          </p:cNvPr>
          <p:cNvSpPr/>
          <p:nvPr/>
        </p:nvSpPr>
        <p:spPr>
          <a:xfrm>
            <a:off x="8632976" y="4271266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 / RI </a:t>
            </a:r>
          </a:p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Taxi / VTC</a:t>
            </a:r>
          </a:p>
        </p:txBody>
      </p:sp>
      <p:sp>
        <p:nvSpPr>
          <p:cNvPr id="115" name="Rectangle: Single Corner Rounded 1033">
            <a:extLst>
              <a:ext uri="{FF2B5EF4-FFF2-40B4-BE49-F238E27FC236}">
                <a16:creationId xmlns:a16="http://schemas.microsoft.com/office/drawing/2014/main" id="{804BB7A7-7FEA-4B64-87F3-1E16D9D9C10D}"/>
              </a:ext>
            </a:extLst>
          </p:cNvPr>
          <p:cNvSpPr/>
          <p:nvPr/>
        </p:nvSpPr>
        <p:spPr>
          <a:xfrm>
            <a:off x="8632976" y="4485028"/>
            <a:ext cx="613496" cy="168142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 </a:t>
            </a:r>
          </a:p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Taxi / VTC</a:t>
            </a:r>
          </a:p>
        </p:txBody>
      </p:sp>
      <p:sp>
        <p:nvSpPr>
          <p:cNvPr id="116" name="Rectangle: Single Corner Rounded 1033">
            <a:extLst>
              <a:ext uri="{FF2B5EF4-FFF2-40B4-BE49-F238E27FC236}">
                <a16:creationId xmlns:a16="http://schemas.microsoft.com/office/drawing/2014/main" id="{FB17438B-3138-4242-8FBE-538E68B98E31}"/>
              </a:ext>
            </a:extLst>
          </p:cNvPr>
          <p:cNvSpPr/>
          <p:nvPr/>
        </p:nvSpPr>
        <p:spPr>
          <a:xfrm>
            <a:off x="8632976" y="4698789"/>
            <a:ext cx="211819" cy="160315"/>
          </a:xfrm>
          <a:prstGeom prst="round1Rect">
            <a:avLst/>
          </a:prstGeom>
          <a:solidFill>
            <a:schemeClr val="accent4">
              <a:lumMod val="75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algn="ctr" defTabSz="412750" hangingPunct="0">
              <a:defRPr/>
            </a:pPr>
            <a:r>
              <a:rPr lang="fr-FR" sz="525" b="1" kern="0">
                <a:solidFill>
                  <a:srgbClr val="000000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…</a:t>
            </a:r>
          </a:p>
        </p:txBody>
      </p:sp>
      <p:cxnSp>
        <p:nvCxnSpPr>
          <p:cNvPr id="113" name="Straight Arrow Connector 87">
            <a:extLst>
              <a:ext uri="{FF2B5EF4-FFF2-40B4-BE49-F238E27FC236}">
                <a16:creationId xmlns:a16="http://schemas.microsoft.com/office/drawing/2014/main" id="{24F9AC0E-F7B6-4691-B3A0-EF602045C0C8}"/>
              </a:ext>
            </a:extLst>
          </p:cNvPr>
          <p:cNvCxnSpPr>
            <a:cxnSpLocks/>
          </p:cNvCxnSpPr>
          <p:nvPr/>
        </p:nvCxnSpPr>
        <p:spPr>
          <a:xfrm>
            <a:off x="9257773" y="4829972"/>
            <a:ext cx="0" cy="315910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2B8C40A2-49CE-4D1A-8D39-EA68313B4791}"/>
              </a:ext>
            </a:extLst>
          </p:cNvPr>
          <p:cNvSpPr/>
          <p:nvPr/>
        </p:nvSpPr>
        <p:spPr bwMode="auto">
          <a:xfrm>
            <a:off x="3266020" y="4761074"/>
            <a:ext cx="1089646" cy="453705"/>
          </a:xfrm>
          <a:prstGeom prst="roundRect">
            <a:avLst/>
          </a:prstGeom>
          <a:solidFill>
            <a:srgbClr val="FFA295"/>
          </a:solidFill>
          <a:ln w="12700">
            <a:solidFill>
              <a:schemeClr val="bg2">
                <a:lumMod val="25000"/>
              </a:schemeClr>
            </a:solidFill>
            <a:prstDash val="sysDot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r-FR" sz="12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Fédération 1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CCB5C5E-DBA6-478A-89CE-44FC7624BAE9}"/>
              </a:ext>
            </a:extLst>
          </p:cNvPr>
          <p:cNvSpPr/>
          <p:nvPr/>
        </p:nvSpPr>
        <p:spPr bwMode="auto">
          <a:xfrm>
            <a:off x="10870777" y="4656502"/>
            <a:ext cx="1089646" cy="453705"/>
          </a:xfrm>
          <a:prstGeom prst="roundRect">
            <a:avLst/>
          </a:prstGeom>
          <a:solidFill>
            <a:srgbClr val="FFA295"/>
          </a:solidFill>
          <a:ln w="12700">
            <a:solidFill>
              <a:schemeClr val="bg2">
                <a:lumMod val="25000"/>
              </a:schemeClr>
            </a:solidFill>
            <a:prstDash val="sysDot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r-FR" sz="12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Fédération 2</a:t>
            </a:r>
          </a:p>
        </p:txBody>
      </p:sp>
    </p:spTree>
    <p:extLst>
      <p:ext uri="{BB962C8B-B14F-4D97-AF65-F5344CB8AC3E}">
        <p14:creationId xmlns:p14="http://schemas.microsoft.com/office/powerpoint/2010/main" val="1012610901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99A33903-A591-4E8D-ACE0-8F2DB0155DFF}"/>
              </a:ext>
            </a:extLst>
          </p:cNvPr>
          <p:cNvSpPr/>
          <p:nvPr/>
        </p:nvSpPr>
        <p:spPr>
          <a:xfrm>
            <a:off x="233916" y="5871411"/>
            <a:ext cx="11780869" cy="9580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spc="0" normalizeH="0" baseline="0">
              <a:ln>
                <a:noFill/>
              </a:ln>
              <a:effectLst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311D821-AEF7-4002-8E2E-12C7B9240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rchitecture applicative et services Gateway</a:t>
            </a:r>
            <a:br>
              <a:rPr lang="fr-FR" sz="2000" spc="-40">
                <a:solidFill>
                  <a:srgbClr val="46496A"/>
                </a:solidFill>
                <a:latin typeface="Corbel" panose="020B0503020204020204" pitchFamily="34" charset="0"/>
                <a:cs typeface="Arial" panose="020B0604020202020204" pitchFamily="34" charset="0"/>
                <a:sym typeface="Futura"/>
              </a:rPr>
            </a:br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F56083-18B5-4FAE-8F91-65512E01C5AA}"/>
              </a:ext>
            </a:extLst>
          </p:cNvPr>
          <p:cNvSpPr/>
          <p:nvPr/>
        </p:nvSpPr>
        <p:spPr>
          <a:xfrm>
            <a:off x="4664013" y="1462072"/>
            <a:ext cx="1960098" cy="262693"/>
          </a:xfrm>
          <a:prstGeom prst="rect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tilisateurs</a:t>
            </a:r>
          </a:p>
        </p:txBody>
      </p:sp>
      <p:sp>
        <p:nvSpPr>
          <p:cNvPr id="12" name="Rectangle: Rounded Corners 50">
            <a:extLst>
              <a:ext uri="{FF2B5EF4-FFF2-40B4-BE49-F238E27FC236}">
                <a16:creationId xmlns:a16="http://schemas.microsoft.com/office/drawing/2014/main" id="{F82D1158-108E-4F51-B874-D61470E35152}"/>
              </a:ext>
            </a:extLst>
          </p:cNvPr>
          <p:cNvSpPr/>
          <p:nvPr/>
        </p:nvSpPr>
        <p:spPr>
          <a:xfrm>
            <a:off x="2733312" y="1800887"/>
            <a:ext cx="5760000" cy="311171"/>
          </a:xfrm>
          <a:prstGeom prst="roundRect">
            <a:avLst>
              <a:gd name="adj" fmla="val 10460"/>
            </a:avLst>
          </a:prstGeom>
          <a:solidFill>
            <a:srgbClr val="5866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Solution MaaS éditeur</a:t>
            </a:r>
          </a:p>
        </p:txBody>
      </p:sp>
      <p:sp>
        <p:nvSpPr>
          <p:cNvPr id="15" name="Rectangle: Rounded Corners 54">
            <a:extLst>
              <a:ext uri="{FF2B5EF4-FFF2-40B4-BE49-F238E27FC236}">
                <a16:creationId xmlns:a16="http://schemas.microsoft.com/office/drawing/2014/main" id="{0D0548BF-F5E4-4264-82A2-B78F0E6E2772}"/>
              </a:ext>
            </a:extLst>
          </p:cNvPr>
          <p:cNvSpPr/>
          <p:nvPr/>
        </p:nvSpPr>
        <p:spPr>
          <a:xfrm>
            <a:off x="762002" y="2343229"/>
            <a:ext cx="9524587" cy="2926280"/>
          </a:xfrm>
          <a:prstGeom prst="roundRect">
            <a:avLst>
              <a:gd name="adj" fmla="val 29146"/>
            </a:avLst>
          </a:prstGeom>
          <a:solidFill>
            <a:srgbClr val="66C7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Gateway MCM Std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MaaS</a:t>
            </a: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EB2CCD6-EAA5-4EDD-8F0D-EB60D6C4D49D}"/>
              </a:ext>
            </a:extLst>
          </p:cNvPr>
          <p:cNvSpPr/>
          <p:nvPr/>
        </p:nvSpPr>
        <p:spPr>
          <a:xfrm>
            <a:off x="3716724" y="3130555"/>
            <a:ext cx="1327101" cy="1833624"/>
          </a:xfrm>
          <a:prstGeom prst="rect">
            <a:avLst/>
          </a:prstGeom>
          <a:noFill/>
          <a:ln w="38100">
            <a:solidFill>
              <a:srgbClr val="D90448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C425C28-BEA8-499E-977A-48EADAC53B50}"/>
              </a:ext>
            </a:extLst>
          </p:cNvPr>
          <p:cNvSpPr/>
          <p:nvPr/>
        </p:nvSpPr>
        <p:spPr>
          <a:xfrm>
            <a:off x="3857036" y="3130556"/>
            <a:ext cx="1199070" cy="220645"/>
          </a:xfrm>
          <a:prstGeom prst="rect">
            <a:avLst/>
          </a:prstGeom>
          <a:solidFill>
            <a:srgbClr val="D90448"/>
          </a:solidFill>
          <a:ln w="12700" cap="flat">
            <a:solidFill>
              <a:srgbClr val="D90448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I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1D52A31-34F3-40CE-8F4B-EFE019887B7A}"/>
              </a:ext>
            </a:extLst>
          </p:cNvPr>
          <p:cNvSpPr/>
          <p:nvPr/>
        </p:nvSpPr>
        <p:spPr>
          <a:xfrm>
            <a:off x="2365274" y="3123465"/>
            <a:ext cx="1250012" cy="1833624"/>
          </a:xfrm>
          <a:prstGeom prst="rect">
            <a:avLst/>
          </a:prstGeom>
          <a:noFill/>
          <a:ln w="38100">
            <a:solidFill>
              <a:srgbClr val="D90448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71CFD41-EFB3-4543-9D62-166D62D9E6A2}"/>
              </a:ext>
            </a:extLst>
          </p:cNvPr>
          <p:cNvSpPr/>
          <p:nvPr/>
        </p:nvSpPr>
        <p:spPr>
          <a:xfrm>
            <a:off x="2539512" y="3123464"/>
            <a:ext cx="1071124" cy="394322"/>
          </a:xfrm>
          <a:prstGeom prst="rect">
            <a:avLst/>
          </a:prstGeom>
          <a:solidFill>
            <a:srgbClr val="D90448"/>
          </a:solidFill>
          <a:ln w="12700" cap="flat">
            <a:solidFill>
              <a:srgbClr val="D90448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</a:t>
            </a: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Usag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078DC91-4FCA-40F7-9347-9B2F152EF584}"/>
              </a:ext>
            </a:extLst>
          </p:cNvPr>
          <p:cNvSpPr/>
          <p:nvPr/>
        </p:nvSpPr>
        <p:spPr>
          <a:xfrm>
            <a:off x="5120930" y="3116375"/>
            <a:ext cx="1977465" cy="1840714"/>
          </a:xfrm>
          <a:prstGeom prst="rect">
            <a:avLst/>
          </a:prstGeom>
          <a:noFill/>
          <a:ln w="38100">
            <a:solidFill>
              <a:srgbClr val="D90448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5092E28-5200-4575-BA5C-1EA9F1DB4B99}"/>
              </a:ext>
            </a:extLst>
          </p:cNvPr>
          <p:cNvSpPr/>
          <p:nvPr/>
        </p:nvSpPr>
        <p:spPr>
          <a:xfrm>
            <a:off x="5940819" y="3116375"/>
            <a:ext cx="1146543" cy="208799"/>
          </a:xfrm>
          <a:prstGeom prst="rect">
            <a:avLst/>
          </a:prstGeom>
          <a:solidFill>
            <a:srgbClr val="D90448"/>
          </a:solidFill>
          <a:ln w="12700" cap="flat">
            <a:solidFill>
              <a:srgbClr val="D90448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V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93E17C0B-939E-4D6A-8B89-71C36DA81E9E}"/>
              </a:ext>
            </a:extLst>
          </p:cNvPr>
          <p:cNvSpPr/>
          <p:nvPr/>
        </p:nvSpPr>
        <p:spPr>
          <a:xfrm>
            <a:off x="7299760" y="3107516"/>
            <a:ext cx="1015334" cy="396879"/>
          </a:xfrm>
          <a:prstGeom prst="rect">
            <a:avLst/>
          </a:prstGeom>
          <a:solidFill>
            <a:srgbClr val="D90448"/>
          </a:solidFill>
          <a:ln w="12700" cap="flat">
            <a:solidFill>
              <a:srgbClr val="D90448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nfiguration </a:t>
            </a:r>
          </a:p>
          <a:p>
            <a:pPr marL="0" marR="0" lvl="0" indent="0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férentiel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E33CE7D-E650-4BF2-99E3-BC56C0D4C242}"/>
              </a:ext>
            </a:extLst>
          </p:cNvPr>
          <p:cNvSpPr/>
          <p:nvPr/>
        </p:nvSpPr>
        <p:spPr>
          <a:xfrm>
            <a:off x="3863605" y="3446213"/>
            <a:ext cx="1050934" cy="346342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Trajet covoiturage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733B579-185E-4248-A26B-12B24F56B852}"/>
              </a:ext>
            </a:extLst>
          </p:cNvPr>
          <p:cNvSpPr/>
          <p:nvPr/>
        </p:nvSpPr>
        <p:spPr>
          <a:xfrm>
            <a:off x="3857036" y="3902196"/>
            <a:ext cx="1057503" cy="40943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Trajet Taxi-VTC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655334E7-EE87-4C0C-A64C-3880296AF1DB}"/>
              </a:ext>
            </a:extLst>
          </p:cNvPr>
          <p:cNvSpPr/>
          <p:nvPr/>
        </p:nvSpPr>
        <p:spPr>
          <a:xfrm>
            <a:off x="2458245" y="3571666"/>
            <a:ext cx="1094555" cy="363195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éservation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B9259F5-7E96-4481-9B9A-65217FFF4FFD}"/>
              </a:ext>
            </a:extLst>
          </p:cNvPr>
          <p:cNvSpPr/>
          <p:nvPr/>
        </p:nvSpPr>
        <p:spPr>
          <a:xfrm>
            <a:off x="2458245" y="4024761"/>
            <a:ext cx="1094554" cy="38882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éblocage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C62DF62-358F-45E3-884C-AAEE16D7C6B5}"/>
              </a:ext>
            </a:extLst>
          </p:cNvPr>
          <p:cNvSpPr/>
          <p:nvPr/>
        </p:nvSpPr>
        <p:spPr>
          <a:xfrm>
            <a:off x="5214150" y="3444212"/>
            <a:ext cx="844105" cy="39872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tations véhicul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FB12325-4327-4831-8C85-06E767C9B6B1}"/>
              </a:ext>
            </a:extLst>
          </p:cNvPr>
          <p:cNvSpPr/>
          <p:nvPr/>
        </p:nvSpPr>
        <p:spPr>
          <a:xfrm>
            <a:off x="5227998" y="3902196"/>
            <a:ext cx="841811" cy="40943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Zones info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C1C26B-7C53-402C-8C17-CA9CA75A0EF3}"/>
              </a:ext>
            </a:extLst>
          </p:cNvPr>
          <p:cNvSpPr/>
          <p:nvPr/>
        </p:nvSpPr>
        <p:spPr>
          <a:xfrm>
            <a:off x="6147141" y="3440750"/>
            <a:ext cx="888685" cy="40581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tations infos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AA50ECF-C31A-4585-95A5-EE16F0834365}"/>
              </a:ext>
            </a:extLst>
          </p:cNvPr>
          <p:cNvSpPr/>
          <p:nvPr/>
        </p:nvSpPr>
        <p:spPr>
          <a:xfrm>
            <a:off x="6152412" y="3914908"/>
            <a:ext cx="888685" cy="391785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tatuts véhicule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DB43A8F-6FD8-4E4C-949E-10BD3EA05B99}"/>
              </a:ext>
            </a:extLst>
          </p:cNvPr>
          <p:cNvSpPr/>
          <p:nvPr/>
        </p:nvSpPr>
        <p:spPr>
          <a:xfrm>
            <a:off x="7348011" y="3871268"/>
            <a:ext cx="888685" cy="40581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Informations </a:t>
            </a:r>
            <a:r>
              <a:rPr kumimoji="0" lang="fr-FR" sz="1100" b="0" i="0" u="none" strike="noStrike" kern="1200" cap="none" spc="0" normalizeH="0" baseline="0" noProof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SPs</a:t>
            </a: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B9F556D-B3BC-4D3E-AAFE-88F6C08F9232}"/>
              </a:ext>
            </a:extLst>
          </p:cNvPr>
          <p:cNvSpPr/>
          <p:nvPr/>
        </p:nvSpPr>
        <p:spPr>
          <a:xfrm>
            <a:off x="1002800" y="2711399"/>
            <a:ext cx="7312294" cy="275973"/>
          </a:xfrm>
          <a:prstGeom prst="rect">
            <a:avLst/>
          </a:prstGeom>
          <a:solidFill>
            <a:srgbClr val="5866D9">
              <a:alpha val="5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 </a:t>
            </a:r>
            <a:r>
              <a:rPr kumimoji="0" lang="fr-FR" sz="11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aaS</a:t>
            </a: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 </a:t>
            </a: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’accès aux MSP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21C4A84-5D2F-4A05-A257-995E275951CB}"/>
              </a:ext>
            </a:extLst>
          </p:cNvPr>
          <p:cNvSpPr/>
          <p:nvPr/>
        </p:nvSpPr>
        <p:spPr>
          <a:xfrm>
            <a:off x="8415919" y="2711400"/>
            <a:ext cx="1565045" cy="275973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 Administration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1D2D959-E400-4CDB-9D08-1EEC3DA82DBE}"/>
              </a:ext>
            </a:extLst>
          </p:cNvPr>
          <p:cNvSpPr/>
          <p:nvPr/>
        </p:nvSpPr>
        <p:spPr>
          <a:xfrm>
            <a:off x="7168552" y="3107516"/>
            <a:ext cx="1146544" cy="1403480"/>
          </a:xfrm>
          <a:prstGeom prst="rect">
            <a:avLst/>
          </a:prstGeom>
          <a:noFill/>
          <a:ln w="38100">
            <a:solidFill>
              <a:srgbClr val="D90448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C744B29-3BE7-4312-887A-9AD6B28430D3}"/>
              </a:ext>
            </a:extLst>
          </p:cNvPr>
          <p:cNvSpPr/>
          <p:nvPr/>
        </p:nvSpPr>
        <p:spPr>
          <a:xfrm>
            <a:off x="8415919" y="3107516"/>
            <a:ext cx="1565045" cy="1403480"/>
          </a:xfrm>
          <a:prstGeom prst="rect">
            <a:avLst/>
          </a:prstGeom>
          <a:noFill/>
          <a:ln w="38100">
            <a:solidFill>
              <a:srgbClr val="D90448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2BD435D1-5A0A-4D23-90B5-1B64BACCF442}"/>
              </a:ext>
            </a:extLst>
          </p:cNvPr>
          <p:cNvSpPr/>
          <p:nvPr/>
        </p:nvSpPr>
        <p:spPr>
          <a:xfrm>
            <a:off x="8660473" y="3107517"/>
            <a:ext cx="1330772" cy="243684"/>
          </a:xfrm>
          <a:prstGeom prst="rect">
            <a:avLst/>
          </a:prstGeom>
          <a:solidFill>
            <a:srgbClr val="D90448"/>
          </a:solidFill>
          <a:ln w="12700" cap="flat">
            <a:solidFill>
              <a:srgbClr val="D90448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dministr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D7AEA45-C037-4C56-8BDA-D259FFFFB15B}"/>
              </a:ext>
            </a:extLst>
          </p:cNvPr>
          <p:cNvSpPr/>
          <p:nvPr/>
        </p:nvSpPr>
        <p:spPr>
          <a:xfrm>
            <a:off x="8537341" y="3447841"/>
            <a:ext cx="1330772" cy="38843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 Administration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FC3A3D9-C9FC-485B-8CA6-5D368E9724FD}"/>
              </a:ext>
            </a:extLst>
          </p:cNvPr>
          <p:cNvSpPr/>
          <p:nvPr/>
        </p:nvSpPr>
        <p:spPr>
          <a:xfrm>
            <a:off x="8552651" y="3932552"/>
            <a:ext cx="1315462" cy="395885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Tableaux de bord (Tech./ Appli.)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C6BC988-EC43-45AB-BF50-038D2F21F73F}"/>
              </a:ext>
            </a:extLst>
          </p:cNvPr>
          <p:cNvSpPr/>
          <p:nvPr/>
        </p:nvSpPr>
        <p:spPr>
          <a:xfrm>
            <a:off x="7196349" y="4622169"/>
            <a:ext cx="1739717" cy="280467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ntrôle cache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CA089F-3C67-4D4C-A425-19E62BF69255}"/>
              </a:ext>
            </a:extLst>
          </p:cNvPr>
          <p:cNvSpPr/>
          <p:nvPr/>
        </p:nvSpPr>
        <p:spPr>
          <a:xfrm>
            <a:off x="7203398" y="4945839"/>
            <a:ext cx="1739717" cy="280467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Historisation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74" name="Straight Connector 64">
            <a:extLst>
              <a:ext uri="{FF2B5EF4-FFF2-40B4-BE49-F238E27FC236}">
                <a16:creationId xmlns:a16="http://schemas.microsoft.com/office/drawing/2014/main" id="{A7AAB42A-6C32-4F39-B8B1-31D587C598C7}"/>
              </a:ext>
            </a:extLst>
          </p:cNvPr>
          <p:cNvCxnSpPr>
            <a:cxnSpLocks/>
          </p:cNvCxnSpPr>
          <p:nvPr/>
        </p:nvCxnSpPr>
        <p:spPr>
          <a:xfrm flipV="1">
            <a:off x="4222591" y="2112059"/>
            <a:ext cx="0" cy="599342"/>
          </a:xfrm>
          <a:prstGeom prst="line">
            <a:avLst/>
          </a:prstGeom>
          <a:noFill/>
          <a:ln w="38100" cap="flat" cmpd="sng" algn="ctr">
            <a:solidFill>
              <a:srgbClr val="5866D9"/>
            </a:solidFill>
            <a:prstDash val="solid"/>
            <a:miter lim="800000"/>
          </a:ln>
          <a:effectLst/>
        </p:spPr>
      </p:cxnSp>
      <p:cxnSp>
        <p:nvCxnSpPr>
          <p:cNvPr id="68" name="Straight Connector 49">
            <a:extLst>
              <a:ext uri="{FF2B5EF4-FFF2-40B4-BE49-F238E27FC236}">
                <a16:creationId xmlns:a16="http://schemas.microsoft.com/office/drawing/2014/main" id="{4DB7D092-66D4-4FCB-B706-03C925D75AC9}"/>
              </a:ext>
            </a:extLst>
          </p:cNvPr>
          <p:cNvCxnSpPr>
            <a:cxnSpLocks/>
          </p:cNvCxnSpPr>
          <p:nvPr/>
        </p:nvCxnSpPr>
        <p:spPr>
          <a:xfrm>
            <a:off x="5396279" y="4888657"/>
            <a:ext cx="0" cy="563100"/>
          </a:xfrm>
          <a:prstGeom prst="line">
            <a:avLst/>
          </a:prstGeom>
          <a:noFill/>
          <a:ln w="38100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sp>
        <p:nvSpPr>
          <p:cNvPr id="53" name="Rectangle: Rounded Corners 34">
            <a:extLst>
              <a:ext uri="{FF2B5EF4-FFF2-40B4-BE49-F238E27FC236}">
                <a16:creationId xmlns:a16="http://schemas.microsoft.com/office/drawing/2014/main" id="{B14062CF-AD55-46BD-B118-D12045B040AD}"/>
              </a:ext>
            </a:extLst>
          </p:cNvPr>
          <p:cNvSpPr/>
          <p:nvPr/>
        </p:nvSpPr>
        <p:spPr>
          <a:xfrm>
            <a:off x="2661907" y="5587449"/>
            <a:ext cx="6540251" cy="958096"/>
          </a:xfrm>
          <a:prstGeom prst="roundRect">
            <a:avLst>
              <a:gd name="adj" fmla="val 9230"/>
            </a:avLst>
          </a:prstGeom>
          <a:noFill/>
          <a:ln w="12700" cap="flat" cmpd="sng" algn="ctr">
            <a:solidFill>
              <a:srgbClr val="00C87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54" name="Rectangle: Rounded Corners 34">
            <a:extLst>
              <a:ext uri="{FF2B5EF4-FFF2-40B4-BE49-F238E27FC236}">
                <a16:creationId xmlns:a16="http://schemas.microsoft.com/office/drawing/2014/main" id="{9CAE739B-3DD0-4C75-92ED-6E5ECF4028AC}"/>
              </a:ext>
            </a:extLst>
          </p:cNvPr>
          <p:cNvSpPr/>
          <p:nvPr/>
        </p:nvSpPr>
        <p:spPr>
          <a:xfrm>
            <a:off x="2820879" y="5817568"/>
            <a:ext cx="1192692" cy="536967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Free Floating</a:t>
            </a:r>
            <a:r>
              <a:rPr lang="fr-FR" sz="1100" kern="0">
                <a:solidFill>
                  <a:srgbClr val="FFFFFF"/>
                </a:solidFill>
                <a:latin typeface="Calibri"/>
              </a:rPr>
              <a:t> </a:t>
            </a: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56" name="Rectangle: Rounded Corners 35">
            <a:extLst>
              <a:ext uri="{FF2B5EF4-FFF2-40B4-BE49-F238E27FC236}">
                <a16:creationId xmlns:a16="http://schemas.microsoft.com/office/drawing/2014/main" id="{327D7EE2-A2F6-40F5-8135-9C2910B27D62}"/>
              </a:ext>
            </a:extLst>
          </p:cNvPr>
          <p:cNvSpPr/>
          <p:nvPr/>
        </p:nvSpPr>
        <p:spPr>
          <a:xfrm>
            <a:off x="4084562" y="5817568"/>
            <a:ext cx="1192692" cy="536967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Autopartage</a:t>
            </a:r>
          </a:p>
        </p:txBody>
      </p:sp>
      <p:sp>
        <p:nvSpPr>
          <p:cNvPr id="57" name="Rectangle: Rounded Corners 44">
            <a:extLst>
              <a:ext uri="{FF2B5EF4-FFF2-40B4-BE49-F238E27FC236}">
                <a16:creationId xmlns:a16="http://schemas.microsoft.com/office/drawing/2014/main" id="{DAF5B812-B39C-414E-95D8-FED75322E3F9}"/>
              </a:ext>
            </a:extLst>
          </p:cNvPr>
          <p:cNvSpPr/>
          <p:nvPr/>
        </p:nvSpPr>
        <p:spPr>
          <a:xfrm>
            <a:off x="5345068" y="5831056"/>
            <a:ext cx="1192692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Stationnement</a:t>
            </a:r>
          </a:p>
        </p:txBody>
      </p:sp>
      <p:sp>
        <p:nvSpPr>
          <p:cNvPr id="58" name="Rectangle: Rounded Corners 45">
            <a:extLst>
              <a:ext uri="{FF2B5EF4-FFF2-40B4-BE49-F238E27FC236}">
                <a16:creationId xmlns:a16="http://schemas.microsoft.com/office/drawing/2014/main" id="{8147E533-98E5-437F-8F6A-08BB8F0EA1C2}"/>
              </a:ext>
            </a:extLst>
          </p:cNvPr>
          <p:cNvSpPr/>
          <p:nvPr/>
        </p:nvSpPr>
        <p:spPr>
          <a:xfrm>
            <a:off x="6591327" y="5829834"/>
            <a:ext cx="1273289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VTC</a:t>
            </a:r>
          </a:p>
        </p:txBody>
      </p:sp>
      <p:sp>
        <p:nvSpPr>
          <p:cNvPr id="59" name="Rectangle: Rounded Corners 46">
            <a:extLst>
              <a:ext uri="{FF2B5EF4-FFF2-40B4-BE49-F238E27FC236}">
                <a16:creationId xmlns:a16="http://schemas.microsoft.com/office/drawing/2014/main" id="{887EA733-F3AD-49FC-B6B2-2CC7EF60BA25}"/>
              </a:ext>
            </a:extLst>
          </p:cNvPr>
          <p:cNvSpPr/>
          <p:nvPr/>
        </p:nvSpPr>
        <p:spPr>
          <a:xfrm>
            <a:off x="7937041" y="5817568"/>
            <a:ext cx="1192692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Covoiturage</a:t>
            </a:r>
          </a:p>
        </p:txBody>
      </p:sp>
      <p:cxnSp>
        <p:nvCxnSpPr>
          <p:cNvPr id="61" name="Straight Connector 55">
            <a:extLst>
              <a:ext uri="{FF2B5EF4-FFF2-40B4-BE49-F238E27FC236}">
                <a16:creationId xmlns:a16="http://schemas.microsoft.com/office/drawing/2014/main" id="{1C9027F6-BF71-4202-9468-C5FBE2BFBD5E}"/>
              </a:ext>
            </a:extLst>
          </p:cNvPr>
          <p:cNvCxnSpPr>
            <a:cxnSpLocks/>
          </p:cNvCxnSpPr>
          <p:nvPr/>
        </p:nvCxnSpPr>
        <p:spPr>
          <a:xfrm flipH="1">
            <a:off x="3398912" y="5443212"/>
            <a:ext cx="4970769" cy="12227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2" name="Straight Connector 63">
            <a:extLst>
              <a:ext uri="{FF2B5EF4-FFF2-40B4-BE49-F238E27FC236}">
                <a16:creationId xmlns:a16="http://schemas.microsoft.com/office/drawing/2014/main" id="{6FF958B9-E57D-4BF4-971B-F149CF019CC1}"/>
              </a:ext>
            </a:extLst>
          </p:cNvPr>
          <p:cNvCxnSpPr>
            <a:cxnSpLocks/>
          </p:cNvCxnSpPr>
          <p:nvPr/>
        </p:nvCxnSpPr>
        <p:spPr>
          <a:xfrm flipV="1">
            <a:off x="3409317" y="5449072"/>
            <a:ext cx="0" cy="368496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3" name="Straight Connector 64">
            <a:extLst>
              <a:ext uri="{FF2B5EF4-FFF2-40B4-BE49-F238E27FC236}">
                <a16:creationId xmlns:a16="http://schemas.microsoft.com/office/drawing/2014/main" id="{8F8FF6FB-0004-41EB-9D2C-5517B2FFDC34}"/>
              </a:ext>
            </a:extLst>
          </p:cNvPr>
          <p:cNvCxnSpPr>
            <a:cxnSpLocks/>
          </p:cNvCxnSpPr>
          <p:nvPr/>
        </p:nvCxnSpPr>
        <p:spPr>
          <a:xfrm flipV="1">
            <a:off x="4634341" y="5449072"/>
            <a:ext cx="0" cy="368496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4" name="Straight Connector 66">
            <a:extLst>
              <a:ext uri="{FF2B5EF4-FFF2-40B4-BE49-F238E27FC236}">
                <a16:creationId xmlns:a16="http://schemas.microsoft.com/office/drawing/2014/main" id="{7D536C34-8154-4593-BBFA-F94C12ABE971}"/>
              </a:ext>
            </a:extLst>
          </p:cNvPr>
          <p:cNvCxnSpPr>
            <a:cxnSpLocks/>
          </p:cNvCxnSpPr>
          <p:nvPr/>
        </p:nvCxnSpPr>
        <p:spPr>
          <a:xfrm flipV="1">
            <a:off x="7227972" y="5449071"/>
            <a:ext cx="0" cy="292412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5" name="Straight Connector 67">
            <a:extLst>
              <a:ext uri="{FF2B5EF4-FFF2-40B4-BE49-F238E27FC236}">
                <a16:creationId xmlns:a16="http://schemas.microsoft.com/office/drawing/2014/main" id="{531338A4-6984-45C4-987E-9F0FC6120D44}"/>
              </a:ext>
            </a:extLst>
          </p:cNvPr>
          <p:cNvCxnSpPr>
            <a:cxnSpLocks/>
          </p:cNvCxnSpPr>
          <p:nvPr/>
        </p:nvCxnSpPr>
        <p:spPr>
          <a:xfrm flipV="1">
            <a:off x="8369681" y="5449071"/>
            <a:ext cx="0" cy="368497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6" name="Straight Connector 66">
            <a:extLst>
              <a:ext uri="{FF2B5EF4-FFF2-40B4-BE49-F238E27FC236}">
                <a16:creationId xmlns:a16="http://schemas.microsoft.com/office/drawing/2014/main" id="{C3CA94A3-5E85-41B8-9AAE-3551524B248F}"/>
              </a:ext>
            </a:extLst>
          </p:cNvPr>
          <p:cNvCxnSpPr>
            <a:cxnSpLocks/>
          </p:cNvCxnSpPr>
          <p:nvPr/>
        </p:nvCxnSpPr>
        <p:spPr>
          <a:xfrm flipV="1">
            <a:off x="5927166" y="5451757"/>
            <a:ext cx="0" cy="365811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2B7EBA2D-1195-4FED-967C-2C2FB950E554}"/>
              </a:ext>
            </a:extLst>
          </p:cNvPr>
          <p:cNvSpPr txBox="1"/>
          <p:nvPr/>
        </p:nvSpPr>
        <p:spPr>
          <a:xfrm>
            <a:off x="470326" y="946058"/>
            <a:ext cx="8246898" cy="105208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cs typeface="Arial" panose="020B0604020202020204" pitchFamily="34" charset="0"/>
                <a:sym typeface="Helvetica Neue"/>
              </a:rPr>
              <a:t>Fournit au backend </a:t>
            </a:r>
            <a:r>
              <a:rPr kumimoji="0" lang="fr-FR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cs typeface="Arial" panose="020B0604020202020204" pitchFamily="34" charset="0"/>
                <a:sym typeface="Helvetica Neue"/>
              </a:rPr>
              <a:t>MaaS</a:t>
            </a:r>
            <a:r>
              <a:rPr kumimoji="0" lang="fr-FR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  <a:cs typeface="Arial" panose="020B0604020202020204" pitchFamily="34" charset="0"/>
                <a:sym typeface="Helvetica Neue"/>
              </a:rPr>
              <a:t> un ensemble de services « standardisés » d’accès aux différents MSP. Ces services sont regroupés par domaine.</a:t>
            </a:r>
          </a:p>
          <a:p>
            <a:pPr marL="0" marR="0" lvl="0" indent="0" algn="l" defTabSz="1219169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F953511-2D56-46DF-A285-C14ACEB8AD96}"/>
              </a:ext>
            </a:extLst>
          </p:cNvPr>
          <p:cNvSpPr txBox="1"/>
          <p:nvPr/>
        </p:nvSpPr>
        <p:spPr>
          <a:xfrm>
            <a:off x="2681318" y="5584153"/>
            <a:ext cx="952500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24383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200" b="1" i="1" kern="0">
                <a:solidFill>
                  <a:srgbClr val="00C87A"/>
                </a:solidFill>
                <a:latin typeface="Calibri" panose="020F0502020204030204" pitchFamily="34" charset="0"/>
                <a:sym typeface="Helvetica Neue"/>
              </a:rPr>
              <a:t>MSP</a:t>
            </a:r>
            <a:endParaRPr lang="fr-FR" sz="1200" b="1" i="1" kern="0">
              <a:solidFill>
                <a:srgbClr val="00C87A"/>
              </a:solidFill>
              <a:latin typeface="Calibri" panose="020F050202020403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36F4F75-315A-42EB-9529-6FD8996B1897}"/>
              </a:ext>
            </a:extLst>
          </p:cNvPr>
          <p:cNvSpPr/>
          <p:nvPr/>
        </p:nvSpPr>
        <p:spPr>
          <a:xfrm>
            <a:off x="1002800" y="3123465"/>
            <a:ext cx="1250012" cy="1833624"/>
          </a:xfrm>
          <a:prstGeom prst="rect">
            <a:avLst/>
          </a:prstGeom>
          <a:noFill/>
          <a:ln w="38100">
            <a:solidFill>
              <a:srgbClr val="D90448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A34A9F9-DED5-498B-B6FC-76B0E2ECDEB7}"/>
              </a:ext>
            </a:extLst>
          </p:cNvPr>
          <p:cNvSpPr/>
          <p:nvPr/>
        </p:nvSpPr>
        <p:spPr>
          <a:xfrm>
            <a:off x="1095771" y="3123464"/>
            <a:ext cx="1152391" cy="394322"/>
          </a:xfrm>
          <a:prstGeom prst="rect">
            <a:avLst/>
          </a:prstGeom>
          <a:solidFill>
            <a:srgbClr val="D90448"/>
          </a:solidFill>
          <a:ln w="12700" cap="flat">
            <a:solidFill>
              <a:srgbClr val="D90448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ommation</a:t>
            </a: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ration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32959CB-CBA0-41B6-9965-0DA47759E621}"/>
              </a:ext>
            </a:extLst>
          </p:cNvPr>
          <p:cNvSpPr/>
          <p:nvPr/>
        </p:nvSpPr>
        <p:spPr>
          <a:xfrm>
            <a:off x="1095771" y="3571666"/>
            <a:ext cx="1094555" cy="363195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err="1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Histo</a:t>
            </a:r>
            <a:r>
              <a:rPr lang="fr-FR" sz="1100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 Conso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CE24321-5AB0-412B-9419-FD54B8E6EDD7}"/>
              </a:ext>
            </a:extLst>
          </p:cNvPr>
          <p:cNvSpPr/>
          <p:nvPr/>
        </p:nvSpPr>
        <p:spPr>
          <a:xfrm>
            <a:off x="1095771" y="4024761"/>
            <a:ext cx="1094554" cy="38882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acture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06A523A-8D85-4245-AF9B-8B5909BE2796}"/>
              </a:ext>
            </a:extLst>
          </p:cNvPr>
          <p:cNvSpPr/>
          <p:nvPr/>
        </p:nvSpPr>
        <p:spPr>
          <a:xfrm>
            <a:off x="1095771" y="4627236"/>
            <a:ext cx="5939907" cy="261421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uche d’adaptation des interfaces MSP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</p:spTree>
    <p:extLst>
      <p:ext uri="{BB962C8B-B14F-4D97-AF65-F5344CB8AC3E}">
        <p14:creationId xmlns:p14="http://schemas.microsoft.com/office/powerpoint/2010/main" val="3940861167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0137C8-EB4F-4263-9949-D2238AA400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b="1" spc="-79">
                <a:solidFill>
                  <a:srgbClr val="46496A"/>
                </a:solidFill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Architecture de l’API Management</a:t>
            </a:r>
            <a:r>
              <a:rPr lang="fr-FR"/>
              <a:t> </a:t>
            </a:r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8DD006E4-DC71-4E3A-B28E-0DE1A229A0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617" y="3613762"/>
            <a:ext cx="905167" cy="905167"/>
          </a:xfr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F59E890-80BD-484B-B11C-2F21289377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619924"/>
            <a:ext cx="1055065" cy="105506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D5EC0F2E-0755-453D-B460-CD0B764A02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3133" y="1742357"/>
            <a:ext cx="886685" cy="88668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3CFC3183-A3EC-4651-B47E-7A43746A5C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3133" y="2997181"/>
            <a:ext cx="886685" cy="88668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7D101EB-13FA-4EE0-AE04-10530AAD71EF}"/>
              </a:ext>
            </a:extLst>
          </p:cNvPr>
          <p:cNvSpPr/>
          <p:nvPr/>
        </p:nvSpPr>
        <p:spPr>
          <a:xfrm>
            <a:off x="7258958" y="1690688"/>
            <a:ext cx="905167" cy="281001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>
                <a:latin typeface="Segoe UI" panose="020B0502040204020203" pitchFamily="34" charset="0"/>
                <a:cs typeface="Segoe UI" panose="020B0502040204020203" pitchFamily="34" charset="0"/>
              </a:rPr>
              <a:t>APM API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E92D8CC-8FC0-4547-BB46-74BA394BA1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929" y="5281126"/>
            <a:ext cx="847224" cy="847224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59957BFC-8088-4666-9746-C07D98E1AFFE}"/>
              </a:ext>
            </a:extLst>
          </p:cNvPr>
          <p:cNvSpPr txBox="1"/>
          <p:nvPr/>
        </p:nvSpPr>
        <p:spPr>
          <a:xfrm>
            <a:off x="7324605" y="6119471"/>
            <a:ext cx="1214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>
                <a:latin typeface="Segoe UI" panose="020B0502040204020203" pitchFamily="34" charset="0"/>
                <a:cs typeface="Segoe UI" panose="020B0502040204020203" pitchFamily="34" charset="0"/>
              </a:rPr>
              <a:t>Gateway</a:t>
            </a:r>
          </a:p>
        </p:txBody>
      </p: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BDA4BCDF-97F8-49F5-A78A-4C9B330A78D4}"/>
              </a:ext>
            </a:extLst>
          </p:cNvPr>
          <p:cNvCxnSpPr/>
          <p:nvPr/>
        </p:nvCxnSpPr>
        <p:spPr>
          <a:xfrm>
            <a:off x="8344576" y="5704738"/>
            <a:ext cx="1202915" cy="0"/>
          </a:xfrm>
          <a:prstGeom prst="straightConnector1">
            <a:avLst/>
          </a:prstGeom>
          <a:ln>
            <a:solidFill>
              <a:srgbClr val="C1038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D16948CF-4174-44F3-878A-3830E13F9E53}"/>
              </a:ext>
            </a:extLst>
          </p:cNvPr>
          <p:cNvSpPr txBox="1"/>
          <p:nvPr/>
        </p:nvSpPr>
        <p:spPr>
          <a:xfrm>
            <a:off x="8205350" y="5724468"/>
            <a:ext cx="1576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el des Endpoints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55E7E868-CE9D-4E4F-A8BF-998D2C87DD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3491" y="5411930"/>
            <a:ext cx="886685" cy="886685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EB9AEA11-6621-4655-AF6E-096DF2B417A2}"/>
              </a:ext>
            </a:extLst>
          </p:cNvPr>
          <p:cNvSpPr txBox="1"/>
          <p:nvPr/>
        </p:nvSpPr>
        <p:spPr>
          <a:xfrm>
            <a:off x="9958472" y="5598572"/>
            <a:ext cx="5967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I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CB4D9770-3450-4936-8A17-0A05CAABA2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338" y="1693037"/>
            <a:ext cx="492662" cy="492662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76254C72-A1C9-439F-A8FE-FC50A26512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339" y="2824355"/>
            <a:ext cx="492662" cy="492662"/>
          </a:xfrm>
          <a:prstGeom prst="rect">
            <a:avLst/>
          </a:prstGeom>
        </p:spPr>
      </p:pic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891A34DB-F341-4C33-834E-F501A50C9016}"/>
              </a:ext>
            </a:extLst>
          </p:cNvPr>
          <p:cNvCxnSpPr/>
          <p:nvPr/>
        </p:nvCxnSpPr>
        <p:spPr>
          <a:xfrm>
            <a:off x="5968380" y="2220535"/>
            <a:ext cx="1202915" cy="0"/>
          </a:xfrm>
          <a:prstGeom prst="straightConnector1">
            <a:avLst/>
          </a:prstGeom>
          <a:ln>
            <a:solidFill>
              <a:srgbClr val="C1038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E1DA2941-2AE4-4B1E-AB16-AF47203B0219}"/>
              </a:ext>
            </a:extLst>
          </p:cNvPr>
          <p:cNvCxnSpPr/>
          <p:nvPr/>
        </p:nvCxnSpPr>
        <p:spPr>
          <a:xfrm>
            <a:off x="5968381" y="3333192"/>
            <a:ext cx="1202915" cy="0"/>
          </a:xfrm>
          <a:prstGeom prst="straightConnector1">
            <a:avLst/>
          </a:prstGeom>
          <a:ln>
            <a:solidFill>
              <a:srgbClr val="C1038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 : en angle 30">
            <a:extLst>
              <a:ext uri="{FF2B5EF4-FFF2-40B4-BE49-F238E27FC236}">
                <a16:creationId xmlns:a16="http://schemas.microsoft.com/office/drawing/2014/main" id="{555CD3FB-9AF5-4418-ABAD-AD79F3D351C2}"/>
              </a:ext>
            </a:extLst>
          </p:cNvPr>
          <p:cNvCxnSpPr>
            <a:stCxn id="11" idx="1"/>
            <a:endCxn id="7" idx="3"/>
          </p:cNvCxnSpPr>
          <p:nvPr/>
        </p:nvCxnSpPr>
        <p:spPr>
          <a:xfrm rot="10800000" flipV="1">
            <a:off x="1893265" y="2185699"/>
            <a:ext cx="2989868" cy="1961757"/>
          </a:xfrm>
          <a:prstGeom prst="bentConnector3">
            <a:avLst>
              <a:gd name="adj1" fmla="val 68724"/>
            </a:avLst>
          </a:prstGeom>
          <a:ln>
            <a:solidFill>
              <a:srgbClr val="C1038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BF5CA319-20D7-4525-B1D1-B180C2932E90}"/>
              </a:ext>
            </a:extLst>
          </p:cNvPr>
          <p:cNvCxnSpPr>
            <a:cxnSpLocks/>
            <a:stCxn id="12" idx="1"/>
            <a:endCxn id="7" idx="3"/>
          </p:cNvCxnSpPr>
          <p:nvPr/>
        </p:nvCxnSpPr>
        <p:spPr>
          <a:xfrm rot="10800000" flipV="1">
            <a:off x="1893265" y="3440523"/>
            <a:ext cx="2989868" cy="706933"/>
          </a:xfrm>
          <a:prstGeom prst="bentConnector3">
            <a:avLst>
              <a:gd name="adj1" fmla="val 68724"/>
            </a:avLst>
          </a:prstGeom>
          <a:ln>
            <a:solidFill>
              <a:srgbClr val="C1038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 : en angle 37">
            <a:extLst>
              <a:ext uri="{FF2B5EF4-FFF2-40B4-BE49-F238E27FC236}">
                <a16:creationId xmlns:a16="http://schemas.microsoft.com/office/drawing/2014/main" id="{6AFC2A7B-D546-4B61-9B4D-164C43F0CB4F}"/>
              </a:ext>
            </a:extLst>
          </p:cNvPr>
          <p:cNvCxnSpPr>
            <a:stCxn id="15" idx="1"/>
            <a:endCxn id="7" idx="3"/>
          </p:cNvCxnSpPr>
          <p:nvPr/>
        </p:nvCxnSpPr>
        <p:spPr>
          <a:xfrm rot="10800000">
            <a:off x="1893265" y="4147458"/>
            <a:ext cx="5394664" cy="1557281"/>
          </a:xfrm>
          <a:prstGeom prst="bentConnector3">
            <a:avLst>
              <a:gd name="adj1" fmla="val 82516"/>
            </a:avLst>
          </a:prstGeom>
          <a:ln>
            <a:solidFill>
              <a:srgbClr val="C1038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ZoneTexte 40">
            <a:extLst>
              <a:ext uri="{FF2B5EF4-FFF2-40B4-BE49-F238E27FC236}">
                <a16:creationId xmlns:a16="http://schemas.microsoft.com/office/drawing/2014/main" id="{1B8DCB15-70A8-4D68-A872-44904E55DE2B}"/>
              </a:ext>
            </a:extLst>
          </p:cNvPr>
          <p:cNvSpPr txBox="1"/>
          <p:nvPr/>
        </p:nvSpPr>
        <p:spPr>
          <a:xfrm>
            <a:off x="6046090" y="2192661"/>
            <a:ext cx="15761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de la configur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CF0792D-1CFC-488B-967D-E6E918DB8182}"/>
              </a:ext>
            </a:extLst>
          </p:cNvPr>
          <p:cNvSpPr txBox="1"/>
          <p:nvPr/>
        </p:nvSpPr>
        <p:spPr>
          <a:xfrm>
            <a:off x="6009001" y="3309364"/>
            <a:ext cx="15761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de la configuration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C48A81F3-F12E-44E7-A8EC-7DCAEFA61F8E}"/>
              </a:ext>
            </a:extLst>
          </p:cNvPr>
          <p:cNvSpPr txBox="1"/>
          <p:nvPr/>
        </p:nvSpPr>
        <p:spPr>
          <a:xfrm>
            <a:off x="4889792" y="2540041"/>
            <a:ext cx="1214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>
                <a:latin typeface="Segoe UI" panose="020B0502040204020203" pitchFamily="34" charset="0"/>
                <a:cs typeface="Segoe UI" panose="020B0502040204020203" pitchFamily="34" charset="0"/>
              </a:rPr>
              <a:t>API Portal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1B72FFB4-3FDE-4B97-B1C8-02CFB35B1646}"/>
              </a:ext>
            </a:extLst>
          </p:cNvPr>
          <p:cNvSpPr txBox="1"/>
          <p:nvPr/>
        </p:nvSpPr>
        <p:spPr>
          <a:xfrm>
            <a:off x="4933043" y="3818671"/>
            <a:ext cx="1214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>
                <a:latin typeface="Segoe UI" panose="020B0502040204020203" pitchFamily="34" charset="0"/>
                <a:cs typeface="Segoe UI" panose="020B0502040204020203" pitchFamily="34" charset="0"/>
              </a:rPr>
              <a:t>API Console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417B5493-D65A-421A-A7F1-3692D42E43AD}"/>
              </a:ext>
            </a:extLst>
          </p:cNvPr>
          <p:cNvSpPr txBox="1"/>
          <p:nvPr/>
        </p:nvSpPr>
        <p:spPr>
          <a:xfrm>
            <a:off x="2888699" y="2212947"/>
            <a:ext cx="15761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talogue des </a:t>
            </a:r>
          </a:p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I et gestion</a:t>
            </a:r>
          </a:p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 applications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46D357A7-C881-4A31-84C6-949713EAED6C}"/>
              </a:ext>
            </a:extLst>
          </p:cNvPr>
          <p:cNvSpPr txBox="1"/>
          <p:nvPr/>
        </p:nvSpPr>
        <p:spPr>
          <a:xfrm>
            <a:off x="2881741" y="3466181"/>
            <a:ext cx="15761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ublication d’API</a:t>
            </a:r>
          </a:p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t administration </a:t>
            </a:r>
          </a:p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 l’APIM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70A2991E-BF9F-4894-9848-66BF51DF1106}"/>
              </a:ext>
            </a:extLst>
          </p:cNvPr>
          <p:cNvSpPr txBox="1"/>
          <p:nvPr/>
        </p:nvSpPr>
        <p:spPr>
          <a:xfrm>
            <a:off x="3015542" y="5701102"/>
            <a:ext cx="22282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el aux API publiées</a:t>
            </a:r>
          </a:p>
        </p:txBody>
      </p:sp>
    </p:spTree>
    <p:extLst>
      <p:ext uri="{BB962C8B-B14F-4D97-AF65-F5344CB8AC3E}">
        <p14:creationId xmlns:p14="http://schemas.microsoft.com/office/powerpoint/2010/main" val="11839672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1FB9CC-DD8A-4E60-9220-D8F72D933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60960" y="-108290"/>
            <a:ext cx="10515600" cy="495759"/>
          </a:xfrm>
        </p:spPr>
        <p:txBody>
          <a:bodyPr/>
          <a:lstStyle/>
          <a:p>
            <a:pPr marL="0" marR="0" lvl="0" indent="0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fr-FR" sz="2000" b="1" i="0" u="none" strike="noStrike" kern="0" cap="none" spc="-40" normalizeH="0" baseline="0" noProof="0" dirty="0">
                <a:ln>
                  <a:noFill/>
                </a:ln>
                <a:solidFill>
                  <a:srgbClr val="46496A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rPr>
              <a:t>Flux entrants API Gateway</a:t>
            </a:r>
            <a:endParaRPr lang="fr-FR" dirty="0"/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5C25EFED-6047-4355-B290-CCDA1C4DC2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2989262"/>
              </p:ext>
            </p:extLst>
          </p:nvPr>
        </p:nvGraphicFramePr>
        <p:xfrm>
          <a:off x="38552" y="387469"/>
          <a:ext cx="12153448" cy="7166733"/>
        </p:xfrm>
        <a:graphic>
          <a:graphicData uri="http://schemas.openxmlformats.org/drawingml/2006/table">
            <a:tbl>
              <a:tblPr/>
              <a:tblGrid>
                <a:gridCol w="430177">
                  <a:extLst>
                    <a:ext uri="{9D8B030D-6E8A-4147-A177-3AD203B41FA5}">
                      <a16:colId xmlns:a16="http://schemas.microsoft.com/office/drawing/2014/main" val="3703839929"/>
                    </a:ext>
                  </a:extLst>
                </a:gridCol>
                <a:gridCol w="594420">
                  <a:extLst>
                    <a:ext uri="{9D8B030D-6E8A-4147-A177-3AD203B41FA5}">
                      <a16:colId xmlns:a16="http://schemas.microsoft.com/office/drawing/2014/main" val="2049380193"/>
                    </a:ext>
                  </a:extLst>
                </a:gridCol>
                <a:gridCol w="924652">
                  <a:extLst>
                    <a:ext uri="{9D8B030D-6E8A-4147-A177-3AD203B41FA5}">
                      <a16:colId xmlns:a16="http://schemas.microsoft.com/office/drawing/2014/main" val="3992761679"/>
                    </a:ext>
                  </a:extLst>
                </a:gridCol>
                <a:gridCol w="792559">
                  <a:extLst>
                    <a:ext uri="{9D8B030D-6E8A-4147-A177-3AD203B41FA5}">
                      <a16:colId xmlns:a16="http://schemas.microsoft.com/office/drawing/2014/main" val="2755778455"/>
                    </a:ext>
                  </a:extLst>
                </a:gridCol>
                <a:gridCol w="729194">
                  <a:extLst>
                    <a:ext uri="{9D8B030D-6E8A-4147-A177-3AD203B41FA5}">
                      <a16:colId xmlns:a16="http://schemas.microsoft.com/office/drawing/2014/main" val="3627094630"/>
                    </a:ext>
                  </a:extLst>
                </a:gridCol>
                <a:gridCol w="2261659">
                  <a:extLst>
                    <a:ext uri="{9D8B030D-6E8A-4147-A177-3AD203B41FA5}">
                      <a16:colId xmlns:a16="http://schemas.microsoft.com/office/drawing/2014/main" val="431015564"/>
                    </a:ext>
                  </a:extLst>
                </a:gridCol>
                <a:gridCol w="812467">
                  <a:extLst>
                    <a:ext uri="{9D8B030D-6E8A-4147-A177-3AD203B41FA5}">
                      <a16:colId xmlns:a16="http://schemas.microsoft.com/office/drawing/2014/main" val="1087396930"/>
                    </a:ext>
                  </a:extLst>
                </a:gridCol>
                <a:gridCol w="3019293">
                  <a:extLst>
                    <a:ext uri="{9D8B030D-6E8A-4147-A177-3AD203B41FA5}">
                      <a16:colId xmlns:a16="http://schemas.microsoft.com/office/drawing/2014/main" val="3768126621"/>
                    </a:ext>
                  </a:extLst>
                </a:gridCol>
                <a:gridCol w="2589027">
                  <a:extLst>
                    <a:ext uri="{9D8B030D-6E8A-4147-A177-3AD203B41FA5}">
                      <a16:colId xmlns:a16="http://schemas.microsoft.com/office/drawing/2014/main" val="3961743967"/>
                    </a:ext>
                  </a:extLst>
                </a:gridCol>
              </a:tblGrid>
              <a:tr h="308733"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strike="noStrike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Bloc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strike="noStrike" kern="120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Source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Destination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Protocole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Standard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URL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Cible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URL Cible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1286319"/>
                  </a:ext>
                </a:extLst>
              </a:tr>
              <a:tr h="243734">
                <a:tc rowSpan="2"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800" dirty="0">
                          <a:solidFill>
                            <a:schemeClr val="dk1"/>
                          </a:solidFill>
                          <a:latin typeface="Futura"/>
                        </a:rPr>
                        <a:t>Informations MSP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AC5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 / 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SP</a:t>
                      </a:r>
                    </a:p>
                  </a:txBody>
                  <a:tcPr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/partners</a:t>
                      </a:r>
                    </a:p>
                  </a:txBody>
                  <a:tcPr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b="1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v1/partners</a:t>
                      </a:r>
                    </a:p>
                  </a:txBody>
                  <a:tcPr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Récupérer les métadonnées de tous les </a:t>
                      </a:r>
                      <a:r>
                        <a:rPr kumimoji="0" lang="fr-FR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SPs</a:t>
                      </a: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/ MaaS</a:t>
                      </a:r>
                    </a:p>
                  </a:txBody>
                  <a:tcPr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531036"/>
                  </a:ext>
                </a:extLst>
              </a:tr>
              <a:tr h="372178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/partners/{partnerId}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b="1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v1/partners/{partnerId}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Récupérer les métadonnées d’un MSP 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185765"/>
                  </a:ext>
                </a:extLst>
              </a:tr>
              <a:tr h="240340">
                <a:tc rowSpan="9"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Information Voyageur et recherche itinéraire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 vert="vert27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0FF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TOMP v1.3.0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/partners/global-view</a:t>
                      </a:r>
                      <a:endParaRPr kumimoji="0" lang="fr-FR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v1/partners/global-view</a:t>
                      </a:r>
                      <a:endParaRPr kumimoji="0" lang="fr-FR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Récupérer une vue globale autour de moi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737313"/>
                  </a:ext>
                </a:extLst>
              </a:tr>
              <a:tr h="390553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TOMP v1.3.0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areas/{areaType}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areas/{areaType}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Pour un MSP donné, obtenir des informations sur une zone spécifiqu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6662669"/>
                  </a:ext>
                </a:extLst>
              </a:tr>
              <a:tr h="390553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TOMP v1.3.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aroundM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aroundM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Retrouver les </a:t>
                      </a:r>
                      <a:r>
                        <a:rPr lang="fr-FR" sz="1000" b="1" kern="1200">
                          <a:solidFill>
                            <a:schemeClr val="dk1"/>
                          </a:solidFill>
                          <a:latin typeface="Futura"/>
                        </a:rPr>
                        <a:t>informations des véhicules</a:t>
                      </a: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 des </a:t>
                      </a:r>
                      <a:r>
                        <a:rPr lang="fr-FR" sz="1000" kern="1200" err="1">
                          <a:solidFill>
                            <a:schemeClr val="dk1"/>
                          </a:solidFill>
                          <a:latin typeface="Futura"/>
                        </a:rPr>
                        <a:t>MSPs</a:t>
                      </a: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 autour de moi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627004"/>
                  </a:ext>
                </a:extLst>
              </a:tr>
              <a:tr h="240340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TOMP v1.3.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vehicles-typ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vehicles-typ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Retrouver tous les types de véhicules d’un MSP</a:t>
                      </a:r>
                      <a:endParaRPr kumimoji="0" lang="fr-FR" sz="10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1078847"/>
                  </a:ext>
                </a:extLst>
              </a:tr>
              <a:tr h="24034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TOMP v1.3.0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en-US" sz="1000" kern="1200">
                          <a:solidFill>
                            <a:schemeClr val="dk1"/>
                          </a:solidFill>
                          <a:latin typeface="Futura"/>
                        </a:rPr>
                        <a:t>/partners/{partnerId}/available-assets</a:t>
                      </a:r>
                      <a:endParaRPr lang="fr-FR" sz="1000" kern="1200">
                        <a:solidFill>
                          <a:schemeClr val="dk1"/>
                        </a:solidFill>
                        <a:latin typeface="Futura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partnerId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}/available-assets</a:t>
                      </a:r>
                      <a:endParaRPr lang="fr-FR" sz="1000" kern="1200" dirty="0">
                        <a:solidFill>
                          <a:schemeClr val="dk1"/>
                        </a:solidFill>
                        <a:latin typeface="Futura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Retrouver les véhicules disponibles d’un MSP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489627"/>
                  </a:ext>
                </a:extLst>
              </a:tr>
              <a:tr h="256745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TOMP v1.3.0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station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station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Retrouver toutes les stations d’un MSP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0312804"/>
                  </a:ext>
                </a:extLst>
              </a:tr>
              <a:tr h="390553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TOMP v1.3.0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stations-statu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stations-statu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Récupérer l’état des stations d’un MSP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911648"/>
                  </a:ext>
                </a:extLst>
              </a:tr>
              <a:tr h="390553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TOMP v1.3.0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asset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asset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Récupérer tous les véhicules d’un MSP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9018215"/>
                  </a:ext>
                </a:extLst>
              </a:tr>
              <a:tr h="390553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TOMP v1.3.0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system-pricing-pla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system-pricing-pla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Récupérer tous les parkings d’un MSP au format CSV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23991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8004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1FB9CC-DD8A-4E60-9220-D8F72D933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495759"/>
          </a:xfrm>
        </p:spPr>
        <p:txBody>
          <a:bodyPr/>
          <a:lstStyle/>
          <a:p>
            <a:pPr marL="0" marR="0" lvl="0" indent="0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fr-FR" sz="2000" b="1" i="0" u="none" strike="noStrike" kern="0" cap="none" spc="-40" normalizeH="0" baseline="0" noProof="0">
                <a:ln>
                  <a:noFill/>
                </a:ln>
                <a:solidFill>
                  <a:srgbClr val="46496A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rPr>
              <a:t>Flux entrants API Gateway</a:t>
            </a:r>
            <a:endParaRPr lang="fr-FR"/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5C25EFED-6047-4355-B290-CCDA1C4DC2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412143"/>
              </p:ext>
            </p:extLst>
          </p:nvPr>
        </p:nvGraphicFramePr>
        <p:xfrm>
          <a:off x="38553" y="570343"/>
          <a:ext cx="12153448" cy="7562973"/>
        </p:xfrm>
        <a:graphic>
          <a:graphicData uri="http://schemas.openxmlformats.org/drawingml/2006/table">
            <a:tbl>
              <a:tblPr/>
              <a:tblGrid>
                <a:gridCol w="246155">
                  <a:extLst>
                    <a:ext uri="{9D8B030D-6E8A-4147-A177-3AD203B41FA5}">
                      <a16:colId xmlns:a16="http://schemas.microsoft.com/office/drawing/2014/main" val="3703839929"/>
                    </a:ext>
                  </a:extLst>
                </a:gridCol>
                <a:gridCol w="240735">
                  <a:extLst>
                    <a:ext uri="{9D8B030D-6E8A-4147-A177-3AD203B41FA5}">
                      <a16:colId xmlns:a16="http://schemas.microsoft.com/office/drawing/2014/main" val="37959346"/>
                    </a:ext>
                  </a:extLst>
                </a:gridCol>
                <a:gridCol w="597963">
                  <a:extLst>
                    <a:ext uri="{9D8B030D-6E8A-4147-A177-3AD203B41FA5}">
                      <a16:colId xmlns:a16="http://schemas.microsoft.com/office/drawing/2014/main" val="2049380193"/>
                    </a:ext>
                  </a:extLst>
                </a:gridCol>
                <a:gridCol w="844731">
                  <a:extLst>
                    <a:ext uri="{9D8B030D-6E8A-4147-A177-3AD203B41FA5}">
                      <a16:colId xmlns:a16="http://schemas.microsoft.com/office/drawing/2014/main" val="3992761679"/>
                    </a:ext>
                  </a:extLst>
                </a:gridCol>
                <a:gridCol w="748937">
                  <a:extLst>
                    <a:ext uri="{9D8B030D-6E8A-4147-A177-3AD203B41FA5}">
                      <a16:colId xmlns:a16="http://schemas.microsoft.com/office/drawing/2014/main" val="2755778455"/>
                    </a:ext>
                  </a:extLst>
                </a:gridCol>
                <a:gridCol w="740229">
                  <a:extLst>
                    <a:ext uri="{9D8B030D-6E8A-4147-A177-3AD203B41FA5}">
                      <a16:colId xmlns:a16="http://schemas.microsoft.com/office/drawing/2014/main" val="497251303"/>
                    </a:ext>
                  </a:extLst>
                </a:gridCol>
                <a:gridCol w="2882695">
                  <a:extLst>
                    <a:ext uri="{9D8B030D-6E8A-4147-A177-3AD203B41FA5}">
                      <a16:colId xmlns:a16="http://schemas.microsoft.com/office/drawing/2014/main" val="431015564"/>
                    </a:ext>
                  </a:extLst>
                </a:gridCol>
                <a:gridCol w="809739">
                  <a:extLst>
                    <a:ext uri="{9D8B030D-6E8A-4147-A177-3AD203B41FA5}">
                      <a16:colId xmlns:a16="http://schemas.microsoft.com/office/drawing/2014/main" val="1087396930"/>
                    </a:ext>
                  </a:extLst>
                </a:gridCol>
                <a:gridCol w="2777085">
                  <a:extLst>
                    <a:ext uri="{9D8B030D-6E8A-4147-A177-3AD203B41FA5}">
                      <a16:colId xmlns:a16="http://schemas.microsoft.com/office/drawing/2014/main" val="3768126621"/>
                    </a:ext>
                  </a:extLst>
                </a:gridCol>
                <a:gridCol w="2265179">
                  <a:extLst>
                    <a:ext uri="{9D8B030D-6E8A-4147-A177-3AD203B41FA5}">
                      <a16:colId xmlns:a16="http://schemas.microsoft.com/office/drawing/2014/main" val="3961743967"/>
                    </a:ext>
                  </a:extLst>
                </a:gridCol>
              </a:tblGrid>
              <a:tr h="308733">
                <a:tc gridSpan="2"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strike="noStrike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Bloc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1" strike="noStrike" kern="1200">
                        <a:solidFill>
                          <a:schemeClr val="tx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strike="noStrike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Source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Destination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Protocole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Standard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URL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Cible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URL Cible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4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dirty="0">
                          <a:solidFill>
                            <a:schemeClr val="tx1"/>
                          </a:solidFill>
                          <a:latin typeface="Futura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1286319"/>
                  </a:ext>
                </a:extLst>
              </a:tr>
              <a:tr h="240340">
                <a:tc rowSpan="9"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covoiturage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Information voyageur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80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/partners/{partnerId}/carpooling/passenger_regular_trips</a:t>
                      </a:r>
                      <a:endParaRPr kumimoji="0" lang="fr-FR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v1/partners/{partnerId}/carpooling/passenger_regular_trips</a:t>
                      </a:r>
                      <a:endParaRPr kumimoji="0" lang="fr-FR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Récupérer une collection de trajets réguliers de passagers 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737313"/>
                  </a:ext>
                </a:extLst>
              </a:tr>
              <a:tr h="390553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carpooling/passenger_journey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passenger_journey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Récupérer une collection de trajets passagers planifiés ponctuels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6662669"/>
                  </a:ext>
                </a:extLst>
              </a:tr>
              <a:tr h="390553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carpooling/driver_regular_tri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driver_regular_tri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Récupérer une collection de trajets réguliers de conducteurs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627004"/>
                  </a:ext>
                </a:extLst>
              </a:tr>
              <a:tr h="240340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carpooling/driver_journey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driver_journey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Récupérer une collection de trajets conducteurs planifiés ponctuels </a:t>
                      </a:r>
                    </a:p>
                    <a:p>
                      <a:endParaRPr kumimoji="0" lang="fr-FR" sz="10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1078847"/>
                  </a:ext>
                </a:extLst>
              </a:tr>
              <a:tr h="70104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 vert="vert27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0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Réservation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87A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</a:t>
                      </a:r>
                      <a:r>
                        <a:rPr lang="en-US" sz="1000" kern="1200" dirty="0" err="1">
                          <a:solidFill>
                            <a:schemeClr val="dk1"/>
                          </a:solidFill>
                          <a:latin typeface="Futura"/>
                        </a:rPr>
                        <a:t>partnerId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}/carpooling/bookings</a:t>
                      </a:r>
                      <a:endParaRPr lang="fr-FR" sz="1000" kern="1200" dirty="0">
                        <a:solidFill>
                          <a:schemeClr val="dk1"/>
                        </a:solidFill>
                        <a:latin typeface="Futura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en-US" sz="1000" kern="120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bookings</a:t>
                      </a:r>
                      <a:endParaRPr lang="fr-FR" sz="1000" kern="1200">
                        <a:solidFill>
                          <a:schemeClr val="dk1"/>
                        </a:solidFill>
                        <a:latin typeface="Futura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Synchroniser une demande de réservation initiée par une plateforme vers une deuxième plateforme impliquée dans le trajet ponctuel aller partagé</a:t>
                      </a:r>
                      <a:endParaRPr lang="fr-FR" sz="1000" kern="1200">
                        <a:solidFill>
                          <a:schemeClr val="dk1"/>
                        </a:solidFill>
                        <a:latin typeface="Futura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489627"/>
                  </a:ext>
                </a:extLst>
              </a:tr>
              <a:tr h="701040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POST 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carpooling/bookings/{bookingId}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bookings/{bookingId}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Effectuer une réservatio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0312804"/>
                  </a:ext>
                </a:extLst>
              </a:tr>
              <a:tr h="390553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ET 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carpooling/bookings/{bookingId}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bookings/{bookingId}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Retrouver les détails d’une réserv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kern="1200">
                        <a:solidFill>
                          <a:schemeClr val="dk1"/>
                        </a:solidFill>
                        <a:latin typeface="Futura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911648"/>
                  </a:ext>
                </a:extLst>
              </a:tr>
              <a:tr h="498614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  <a:endParaRPr kumimoji="0" lang="fr-FR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PATCH 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carpooling/bookings/{bookingId}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bookings/{bookingId}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Mettre à jour le statut d'une demande de réservation existante.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9018215"/>
                  </a:ext>
                </a:extLst>
              </a:tr>
              <a:tr h="390553"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8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essage</a:t>
                      </a: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 vert="vert27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6D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/ MSP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carpooling/messag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messag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Permettre à un utilisateur d’écrire un message texte au propriétaire d'un trajet récupéré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2399171"/>
                  </a:ext>
                </a:extLst>
              </a:tr>
              <a:tr h="349671"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 vert="vert27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900" kern="1200" dirty="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2CC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aaS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/ MSP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carpooling/statu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statu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>
                          <a:solidFill>
                            <a:schemeClr val="dk1"/>
                          </a:solidFill>
                          <a:latin typeface="Futura"/>
                        </a:rPr>
                        <a:t>Indiquer l'état de santé du service Web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015329"/>
                  </a:ext>
                </a:extLst>
              </a:tr>
              <a:tr h="390553"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 vert="vert27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8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Webhook</a:t>
                      </a:r>
                      <a:endParaRPr lang="fr-FR" sz="900" kern="120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 vert="vert27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2A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MSP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M </a:t>
                      </a: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Gravite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kern="1200">
                          <a:solidFill>
                            <a:schemeClr val="dk1"/>
                          </a:solidFill>
                          <a:latin typeface="Futura"/>
                          <a:ea typeface="+mn-ea"/>
                          <a:cs typeface="+mn-cs"/>
                        </a:rPr>
                        <a:t>HTTP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900" kern="1200" dirty="0">
                        <a:solidFill>
                          <a:schemeClr val="dk1"/>
                        </a:solidFill>
                        <a:latin typeface="Futura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m-gateway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/api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partners/{partnerId}/carpooling/booking_event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300" kern="1200" dirty="0">
                        <a:solidFill>
                          <a:schemeClr val="dk1"/>
                        </a:solidFill>
                        <a:latin typeface="Futura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MCM</a:t>
                      </a:r>
                    </a:p>
                    <a:p>
                      <a:pPr marL="889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API</a:t>
                      </a:r>
                      <a:r>
                        <a:rPr kumimoji="0" lang="fr-F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 Gatewa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https://api.</a:t>
                      </a:r>
                      <a:r>
                        <a:rPr kumimoji="0" lang="fr-FR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66D9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[env]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Futura"/>
                          <a:ea typeface="+mn-ea"/>
                          <a:cs typeface="+mn-cs"/>
                        </a:rPr>
                        <a:t>-gw.moncomptemobilite.fr</a:t>
                      </a: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/v1/partners/{partnerId}/carpooling/</a:t>
                      </a:r>
                      <a:r>
                        <a:rPr lang="fr-FR" sz="1000" kern="1200" dirty="0" err="1">
                          <a:solidFill>
                            <a:schemeClr val="dk1"/>
                          </a:solidFill>
                          <a:latin typeface="Futura"/>
                        </a:rPr>
                        <a:t>booking_events</a:t>
                      </a:r>
                      <a:endParaRPr lang="fr-FR" sz="1000" kern="1200" dirty="0">
                        <a:solidFill>
                          <a:schemeClr val="dk1"/>
                        </a:solidFill>
                        <a:latin typeface="Futura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dk1"/>
                          </a:solidFill>
                          <a:latin typeface="Futura"/>
                        </a:rPr>
                        <a:t>Permettre à un opérateur de covoiturage d'envoyer des informations de réservation à un fournisseur tiers.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673244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B7FDF4BF-E49D-4607-BBC3-32A4DD9752C9}"/>
              </a:ext>
            </a:extLst>
          </p:cNvPr>
          <p:cNvSpPr txBox="1"/>
          <p:nvPr/>
        </p:nvSpPr>
        <p:spPr>
          <a:xfrm rot="19400269">
            <a:off x="2567331" y="6459267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96E8502-24E1-4189-9DBF-9F6EF0FCE9F6}"/>
              </a:ext>
            </a:extLst>
          </p:cNvPr>
          <p:cNvSpPr txBox="1"/>
          <p:nvPr/>
        </p:nvSpPr>
        <p:spPr>
          <a:xfrm rot="19400269">
            <a:off x="2567331" y="5819187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42C09EE-4139-4A81-B83D-311F33936C9F}"/>
              </a:ext>
            </a:extLst>
          </p:cNvPr>
          <p:cNvSpPr txBox="1"/>
          <p:nvPr/>
        </p:nvSpPr>
        <p:spPr>
          <a:xfrm rot="19400269">
            <a:off x="2567332" y="5125371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040815A-09EC-461A-9CDD-4CCA93C061B7}"/>
              </a:ext>
            </a:extLst>
          </p:cNvPr>
          <p:cNvSpPr txBox="1"/>
          <p:nvPr/>
        </p:nvSpPr>
        <p:spPr>
          <a:xfrm rot="19400269">
            <a:off x="2567330" y="4379897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1A03525-96BA-4C42-A36F-B46CF40E95D6}"/>
              </a:ext>
            </a:extLst>
          </p:cNvPr>
          <p:cNvSpPr txBox="1"/>
          <p:nvPr/>
        </p:nvSpPr>
        <p:spPr>
          <a:xfrm rot="19400269">
            <a:off x="2567328" y="3623774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10E1B4D-925D-431E-AF98-01931BC09730}"/>
              </a:ext>
            </a:extLst>
          </p:cNvPr>
          <p:cNvSpPr txBox="1"/>
          <p:nvPr/>
        </p:nvSpPr>
        <p:spPr>
          <a:xfrm rot="19400269">
            <a:off x="2567327" y="2867650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8B9D758-304A-4733-A43F-6A815307A661}"/>
              </a:ext>
            </a:extLst>
          </p:cNvPr>
          <p:cNvSpPr txBox="1"/>
          <p:nvPr/>
        </p:nvSpPr>
        <p:spPr>
          <a:xfrm rot="19400269">
            <a:off x="2579735" y="2241773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31A246C7-4266-45C7-B53A-4E0F8EC29341}"/>
              </a:ext>
            </a:extLst>
          </p:cNvPr>
          <p:cNvSpPr txBox="1"/>
          <p:nvPr/>
        </p:nvSpPr>
        <p:spPr>
          <a:xfrm rot="19400269">
            <a:off x="2609559" y="1680772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4B5C244B-B88E-42AC-B18C-9E30B9D76EEF}"/>
              </a:ext>
            </a:extLst>
          </p:cNvPr>
          <p:cNvSpPr txBox="1"/>
          <p:nvPr/>
        </p:nvSpPr>
        <p:spPr>
          <a:xfrm rot="19400269">
            <a:off x="2609558" y="1081852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254E5530-7A25-4767-B87C-9F7A96D5B342}"/>
              </a:ext>
            </a:extLst>
          </p:cNvPr>
          <p:cNvSpPr txBox="1"/>
          <p:nvPr/>
        </p:nvSpPr>
        <p:spPr>
          <a:xfrm rot="19400269">
            <a:off x="2579736" y="7667976"/>
            <a:ext cx="1158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>
                <a:solidFill>
                  <a:schemeClr val="dk1"/>
                </a:solidFill>
                <a:latin typeface="Futura"/>
              </a:rPr>
              <a:t>COVOITURAGE</a:t>
            </a:r>
          </a:p>
        </p:txBody>
      </p:sp>
    </p:spTree>
    <p:extLst>
      <p:ext uri="{BB962C8B-B14F-4D97-AF65-F5344CB8AC3E}">
        <p14:creationId xmlns:p14="http://schemas.microsoft.com/office/powerpoint/2010/main" val="8700721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9BAE5A01-AC14-40AF-8D83-31B2FE240A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88973" y="10218"/>
            <a:ext cx="8284685" cy="70212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1642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6593A3F6-2E27-495A-8B22-4CF5DFEA4BF9}"/>
              </a:ext>
            </a:extLst>
          </p:cNvPr>
          <p:cNvSpPr/>
          <p:nvPr/>
        </p:nvSpPr>
        <p:spPr>
          <a:xfrm>
            <a:off x="4073323" y="1542507"/>
            <a:ext cx="3273039" cy="3273039"/>
          </a:xfrm>
          <a:prstGeom prst="ellipse">
            <a:avLst/>
          </a:prstGeom>
          <a:noFill/>
          <a:ln w="22225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20CCE5-DF88-4F3F-9821-EC9DD917753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l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fr-FR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"/>
                <a:sym typeface="Futura"/>
              </a:rPr>
              <a:pPr marL="0" marR="0" lvl="0" indent="0" algn="l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"/>
              <a:sym typeface="Futura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424BB8-98BD-4C93-B31C-F675DA06435D}"/>
              </a:ext>
            </a:extLst>
          </p:cNvPr>
          <p:cNvGrpSpPr/>
          <p:nvPr/>
        </p:nvGrpSpPr>
        <p:grpSpPr>
          <a:xfrm>
            <a:off x="3752209" y="2162670"/>
            <a:ext cx="906208" cy="906208"/>
            <a:chOff x="4138367" y="2073279"/>
            <a:chExt cx="906208" cy="906208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20917AB-EBCB-4FBB-966F-0F17FAB93713}"/>
                </a:ext>
              </a:extLst>
            </p:cNvPr>
            <p:cNvSpPr/>
            <p:nvPr/>
          </p:nvSpPr>
          <p:spPr>
            <a:xfrm>
              <a:off x="4138367" y="2073279"/>
              <a:ext cx="906208" cy="906208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10DBACB-C7C5-4C1E-9A3E-2DE723380FFF}"/>
                </a:ext>
              </a:extLst>
            </p:cNvPr>
            <p:cNvGrpSpPr/>
            <p:nvPr/>
          </p:nvGrpSpPr>
          <p:grpSpPr>
            <a:xfrm>
              <a:off x="4256201" y="2191732"/>
              <a:ext cx="669302" cy="669302"/>
              <a:chOff x="4256201" y="2191732"/>
              <a:chExt cx="669302" cy="669302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DE0D5986-BF7C-43BE-B778-9E7F440A79F5}"/>
                  </a:ext>
                </a:extLst>
              </p:cNvPr>
              <p:cNvSpPr/>
              <p:nvPr/>
            </p:nvSpPr>
            <p:spPr>
              <a:xfrm>
                <a:off x="4256201" y="2191732"/>
                <a:ext cx="669302" cy="669302"/>
              </a:xfrm>
              <a:prstGeom prst="ellipse">
                <a:avLst/>
              </a:prstGeom>
              <a:solidFill>
                <a:schemeClr val="bg1"/>
              </a:solidFill>
              <a:ln w="12700" cap="flat">
                <a:solidFill>
                  <a:schemeClr val="bg2">
                    <a:lumMod val="75000"/>
                  </a:schemeClr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endParaRPr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A6101D52-E685-49AF-88D7-259B30041867}"/>
                  </a:ext>
                </a:extLst>
              </p:cNvPr>
              <p:cNvSpPr/>
              <p:nvPr/>
            </p:nvSpPr>
            <p:spPr>
              <a:xfrm>
                <a:off x="4345756" y="2281287"/>
                <a:ext cx="490193" cy="490193"/>
              </a:xfrm>
              <a:prstGeom prst="ellipse">
                <a:avLst/>
              </a:prstGeom>
              <a:solidFill>
                <a:schemeClr val="accent6"/>
              </a:solidFill>
              <a:ln w="22225" cap="flat">
                <a:solidFill>
                  <a:schemeClr val="bg2">
                    <a:lumMod val="75000"/>
                  </a:schemeClr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Jost Medium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0E757D6-CE05-4118-B986-E189E37D7E5A}"/>
              </a:ext>
            </a:extLst>
          </p:cNvPr>
          <p:cNvGrpSpPr/>
          <p:nvPr/>
        </p:nvGrpSpPr>
        <p:grpSpPr>
          <a:xfrm>
            <a:off x="6411872" y="1542507"/>
            <a:ext cx="906208" cy="906208"/>
            <a:chOff x="4138367" y="2073279"/>
            <a:chExt cx="906208" cy="90620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0AE0BDEC-B1FA-4678-964F-CAEDA9270AC1}"/>
                </a:ext>
              </a:extLst>
            </p:cNvPr>
            <p:cNvSpPr/>
            <p:nvPr/>
          </p:nvSpPr>
          <p:spPr>
            <a:xfrm>
              <a:off x="4138367" y="2073279"/>
              <a:ext cx="906208" cy="906208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96C99C2-C77A-4482-8D19-46F588342A38}"/>
                </a:ext>
              </a:extLst>
            </p:cNvPr>
            <p:cNvGrpSpPr/>
            <p:nvPr/>
          </p:nvGrpSpPr>
          <p:grpSpPr>
            <a:xfrm>
              <a:off x="4256201" y="2191732"/>
              <a:ext cx="669302" cy="669302"/>
              <a:chOff x="4256201" y="2191732"/>
              <a:chExt cx="669302" cy="669302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530E5292-2C54-41E3-A506-56F4629A4963}"/>
                  </a:ext>
                </a:extLst>
              </p:cNvPr>
              <p:cNvSpPr/>
              <p:nvPr/>
            </p:nvSpPr>
            <p:spPr>
              <a:xfrm>
                <a:off x="4256201" y="2191732"/>
                <a:ext cx="669302" cy="669302"/>
              </a:xfrm>
              <a:prstGeom prst="ellipse">
                <a:avLst/>
              </a:prstGeom>
              <a:solidFill>
                <a:schemeClr val="bg1"/>
              </a:solidFill>
              <a:ln w="12700" cap="flat">
                <a:solidFill>
                  <a:schemeClr val="bg2">
                    <a:lumMod val="75000"/>
                  </a:schemeClr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endParaRP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A83153E3-5330-4D34-8670-5554893DCCD5}"/>
                  </a:ext>
                </a:extLst>
              </p:cNvPr>
              <p:cNvSpPr/>
              <p:nvPr/>
            </p:nvSpPr>
            <p:spPr>
              <a:xfrm>
                <a:off x="4345756" y="2281287"/>
                <a:ext cx="490193" cy="490193"/>
              </a:xfrm>
              <a:prstGeom prst="ellipse">
                <a:avLst/>
              </a:prstGeom>
              <a:solidFill>
                <a:schemeClr val="accent4"/>
              </a:solidFill>
              <a:ln w="22225" cap="flat">
                <a:solidFill>
                  <a:schemeClr val="bg2">
                    <a:lumMod val="75000"/>
                  </a:schemeClr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Jost Medium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620FA50-51AC-4D7C-8BED-CDBA6E8E00DD}"/>
              </a:ext>
            </a:extLst>
          </p:cNvPr>
          <p:cNvGrpSpPr/>
          <p:nvPr/>
        </p:nvGrpSpPr>
        <p:grpSpPr>
          <a:xfrm>
            <a:off x="4575248" y="4120977"/>
            <a:ext cx="906208" cy="906208"/>
            <a:chOff x="4138367" y="2073279"/>
            <a:chExt cx="906208" cy="906208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14AA465-2A64-42F2-978F-0E73579C5B62}"/>
                </a:ext>
              </a:extLst>
            </p:cNvPr>
            <p:cNvSpPr/>
            <p:nvPr/>
          </p:nvSpPr>
          <p:spPr>
            <a:xfrm>
              <a:off x="4138367" y="2073279"/>
              <a:ext cx="906208" cy="906208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96E47E4-0ACD-4CEF-9D84-2E10C0B428DF}"/>
                </a:ext>
              </a:extLst>
            </p:cNvPr>
            <p:cNvGrpSpPr/>
            <p:nvPr/>
          </p:nvGrpSpPr>
          <p:grpSpPr>
            <a:xfrm>
              <a:off x="4256201" y="2191732"/>
              <a:ext cx="669302" cy="669302"/>
              <a:chOff x="4256201" y="2191732"/>
              <a:chExt cx="669302" cy="669302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EF25B624-1C75-4453-A74C-2C90C04C0BE9}"/>
                  </a:ext>
                </a:extLst>
              </p:cNvPr>
              <p:cNvSpPr/>
              <p:nvPr/>
            </p:nvSpPr>
            <p:spPr>
              <a:xfrm>
                <a:off x="4256201" y="2191732"/>
                <a:ext cx="669302" cy="669302"/>
              </a:xfrm>
              <a:prstGeom prst="ellipse">
                <a:avLst/>
              </a:prstGeom>
              <a:solidFill>
                <a:schemeClr val="bg1"/>
              </a:solidFill>
              <a:ln w="12700" cap="flat">
                <a:solidFill>
                  <a:schemeClr val="bg2">
                    <a:lumMod val="75000"/>
                  </a:schemeClr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4A143A6A-75F8-44FA-88F4-0792E15FCC1B}"/>
                  </a:ext>
                </a:extLst>
              </p:cNvPr>
              <p:cNvSpPr/>
              <p:nvPr/>
            </p:nvSpPr>
            <p:spPr>
              <a:xfrm>
                <a:off x="4345756" y="2281287"/>
                <a:ext cx="490193" cy="490193"/>
              </a:xfrm>
              <a:prstGeom prst="ellipse">
                <a:avLst/>
              </a:prstGeom>
              <a:solidFill>
                <a:schemeClr val="accent5"/>
              </a:solidFill>
              <a:ln w="22225" cap="flat">
                <a:solidFill>
                  <a:schemeClr val="bg2">
                    <a:lumMod val="75000"/>
                  </a:schemeClr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Jost Medium"/>
                </a:endParaRPr>
              </a:p>
            </p:txBody>
          </p:sp>
        </p:grpSp>
      </p:grpSp>
      <p:sp>
        <p:nvSpPr>
          <p:cNvPr id="22" name="Flowchart: Merge 21">
            <a:extLst>
              <a:ext uri="{FF2B5EF4-FFF2-40B4-BE49-F238E27FC236}">
                <a16:creationId xmlns:a16="http://schemas.microsoft.com/office/drawing/2014/main" id="{6A7B07A6-25CC-47F3-8A15-FB1DD901D7DD}"/>
              </a:ext>
            </a:extLst>
          </p:cNvPr>
          <p:cNvSpPr/>
          <p:nvPr/>
        </p:nvSpPr>
        <p:spPr>
          <a:xfrm rot="17797335">
            <a:off x="6331816" y="1627589"/>
            <a:ext cx="236587" cy="187484"/>
          </a:xfrm>
          <a:prstGeom prst="flowChartMerge">
            <a:avLst/>
          </a:prstGeom>
          <a:solidFill>
            <a:srgbClr val="A0A0A0"/>
          </a:solidFill>
          <a:ln w="22225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3" name="Flowchart: Merge 22">
            <a:extLst>
              <a:ext uri="{FF2B5EF4-FFF2-40B4-BE49-F238E27FC236}">
                <a16:creationId xmlns:a16="http://schemas.microsoft.com/office/drawing/2014/main" id="{4EF00BA9-31D3-48AA-84AA-F8CF576C85D7}"/>
              </a:ext>
            </a:extLst>
          </p:cNvPr>
          <p:cNvSpPr/>
          <p:nvPr/>
        </p:nvSpPr>
        <p:spPr>
          <a:xfrm rot="2410207">
            <a:off x="4297032" y="2085713"/>
            <a:ext cx="236587" cy="187484"/>
          </a:xfrm>
          <a:prstGeom prst="flowChartMerge">
            <a:avLst/>
          </a:prstGeom>
          <a:solidFill>
            <a:srgbClr val="A0A0A0"/>
          </a:solidFill>
          <a:ln w="22225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4" name="Flowchart: Merge 23">
            <a:extLst>
              <a:ext uri="{FF2B5EF4-FFF2-40B4-BE49-F238E27FC236}">
                <a16:creationId xmlns:a16="http://schemas.microsoft.com/office/drawing/2014/main" id="{18E81E1A-3EA2-4278-A7A7-69AAF4E14D56}"/>
              </a:ext>
            </a:extLst>
          </p:cNvPr>
          <p:cNvSpPr/>
          <p:nvPr/>
        </p:nvSpPr>
        <p:spPr>
          <a:xfrm rot="11186914">
            <a:off x="3967729" y="3010192"/>
            <a:ext cx="236587" cy="187484"/>
          </a:xfrm>
          <a:prstGeom prst="flowChartMerge">
            <a:avLst/>
          </a:prstGeom>
          <a:solidFill>
            <a:srgbClr val="A0A0A0"/>
          </a:solidFill>
          <a:ln w="22225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5" name="Flowchart: Merge 24">
            <a:extLst>
              <a:ext uri="{FF2B5EF4-FFF2-40B4-BE49-F238E27FC236}">
                <a16:creationId xmlns:a16="http://schemas.microsoft.com/office/drawing/2014/main" id="{609E9025-F264-44AC-95A7-2DF070787DB4}"/>
              </a:ext>
            </a:extLst>
          </p:cNvPr>
          <p:cNvSpPr/>
          <p:nvPr/>
        </p:nvSpPr>
        <p:spPr>
          <a:xfrm rot="19240529">
            <a:off x="4454514" y="4262847"/>
            <a:ext cx="236587" cy="187484"/>
          </a:xfrm>
          <a:prstGeom prst="flowChartMerge">
            <a:avLst/>
          </a:prstGeom>
          <a:solidFill>
            <a:srgbClr val="A0A0A0"/>
          </a:solidFill>
          <a:ln w="22225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6" name="Flowchart: Merge 25">
            <a:extLst>
              <a:ext uri="{FF2B5EF4-FFF2-40B4-BE49-F238E27FC236}">
                <a16:creationId xmlns:a16="http://schemas.microsoft.com/office/drawing/2014/main" id="{C85F56F5-78F1-45C4-9859-A56512CE6184}"/>
              </a:ext>
            </a:extLst>
          </p:cNvPr>
          <p:cNvSpPr/>
          <p:nvPr/>
        </p:nvSpPr>
        <p:spPr>
          <a:xfrm rot="7082617">
            <a:off x="5351988" y="4721803"/>
            <a:ext cx="236587" cy="187484"/>
          </a:xfrm>
          <a:prstGeom prst="flowChartMerge">
            <a:avLst/>
          </a:prstGeom>
          <a:solidFill>
            <a:srgbClr val="A0A0A0"/>
          </a:solidFill>
          <a:ln w="22225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B3BCC77-93E6-4D9E-8509-844538522232}"/>
              </a:ext>
            </a:extLst>
          </p:cNvPr>
          <p:cNvSpPr/>
          <p:nvPr/>
        </p:nvSpPr>
        <p:spPr>
          <a:xfrm>
            <a:off x="3217895" y="4533475"/>
            <a:ext cx="12064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BCA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ITOYE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8B3466-8646-4255-B53F-E44814D14401}"/>
              </a:ext>
            </a:extLst>
          </p:cNvPr>
          <p:cNvSpPr/>
          <p:nvPr/>
        </p:nvSpPr>
        <p:spPr>
          <a:xfrm>
            <a:off x="7383058" y="1238005"/>
            <a:ext cx="8643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A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6EF80A2-1530-4539-ACD1-784208A726B9}"/>
              </a:ext>
            </a:extLst>
          </p:cNvPr>
          <p:cNvSpPr/>
          <p:nvPr/>
        </p:nvSpPr>
        <p:spPr>
          <a:xfrm>
            <a:off x="3052717" y="1940557"/>
            <a:ext cx="6848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866D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SP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442E5B9-5A44-44FA-ADC7-4DE8DD1F9867}"/>
              </a:ext>
            </a:extLst>
          </p:cNvPr>
          <p:cNvCxnSpPr>
            <a:cxnSpLocks/>
          </p:cNvCxnSpPr>
          <p:nvPr/>
        </p:nvCxnSpPr>
        <p:spPr>
          <a:xfrm>
            <a:off x="2890542" y="4922271"/>
            <a:ext cx="1440000" cy="0"/>
          </a:xfrm>
          <a:prstGeom prst="line">
            <a:avLst/>
          </a:prstGeom>
          <a:ln w="28575">
            <a:solidFill>
              <a:srgbClr val="00B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0D174F5-6FCD-43B4-B097-D32D1C5C96ED}"/>
              </a:ext>
            </a:extLst>
          </p:cNvPr>
          <p:cNvCxnSpPr>
            <a:cxnSpLocks/>
          </p:cNvCxnSpPr>
          <p:nvPr/>
        </p:nvCxnSpPr>
        <p:spPr>
          <a:xfrm>
            <a:off x="7459904" y="1602573"/>
            <a:ext cx="144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E1D56A4-59E4-4242-9493-066BBABABCF4}"/>
              </a:ext>
            </a:extLst>
          </p:cNvPr>
          <p:cNvCxnSpPr>
            <a:cxnSpLocks/>
          </p:cNvCxnSpPr>
          <p:nvPr/>
        </p:nvCxnSpPr>
        <p:spPr>
          <a:xfrm>
            <a:off x="2209032" y="2306234"/>
            <a:ext cx="1440000" cy="0"/>
          </a:xfrm>
          <a:prstGeom prst="line">
            <a:avLst/>
          </a:prstGeom>
          <a:ln w="28575">
            <a:solidFill>
              <a:srgbClr val="5866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2">
            <a:extLst>
              <a:ext uri="{FF2B5EF4-FFF2-40B4-BE49-F238E27FC236}">
                <a16:creationId xmlns:a16="http://schemas.microsoft.com/office/drawing/2014/main" id="{5076FFF5-4F8F-4459-A323-6F2619889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199" y="231712"/>
            <a:ext cx="10227291" cy="906208"/>
          </a:xfrm>
        </p:spPr>
        <p:txBody>
          <a:bodyPr/>
          <a:lstStyle/>
          <a:p>
            <a:r>
              <a:rPr lang="fr-FR"/>
              <a:t>La standardisation permettra de relier plusieurs MSP à un ou plusieurs </a:t>
            </a:r>
            <a:r>
              <a:rPr lang="fr-FR" err="1"/>
              <a:t>MaaS</a:t>
            </a:r>
            <a:r>
              <a:rPr lang="fr-FR"/>
              <a:t> via des interfaces standards ainsi que de faciliter l’intégration des MSP et de MOB / CMS dans les </a:t>
            </a:r>
            <a:r>
              <a:rPr lang="fr-FR" err="1"/>
              <a:t>MaaS</a:t>
            </a:r>
            <a:endParaRPr lang="fr-FR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5FF2741-8BC7-4185-93F3-BAA0AD15A628}"/>
              </a:ext>
            </a:extLst>
          </p:cNvPr>
          <p:cNvSpPr/>
          <p:nvPr/>
        </p:nvSpPr>
        <p:spPr>
          <a:xfrm>
            <a:off x="403619" y="2320423"/>
            <a:ext cx="3326022" cy="11875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J’utilise un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tandard commun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qui me permet d’échanger avec les MaaS des territoires où je suis présent sans développer de nouvelles interfaces spécifiques pour intégrer et s’adapter aux plateformes MaaS*</a:t>
            </a:r>
          </a:p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5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40EBF91-E8F9-4A2E-BF29-16D557F37DCE}"/>
              </a:ext>
            </a:extLst>
          </p:cNvPr>
          <p:cNvSpPr/>
          <p:nvPr/>
        </p:nvSpPr>
        <p:spPr>
          <a:xfrm>
            <a:off x="7374696" y="1619135"/>
            <a:ext cx="3685036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Je propose à mes utilisateurs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une offre de mobilité plus grande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grâce à une intégration simplifiée de nombreux MSP</a:t>
            </a:r>
          </a:p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Je propose aux citoyens des informations liées à leurs Comptes Mobilité*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00F85AE-FC8A-4EBC-9D86-28B524FD3A23}"/>
              </a:ext>
            </a:extLst>
          </p:cNvPr>
          <p:cNvSpPr/>
          <p:nvPr/>
        </p:nvSpPr>
        <p:spPr>
          <a:xfrm>
            <a:off x="1098294" y="4934779"/>
            <a:ext cx="3326022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J’utilise les services de mobilité à partir d’un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mpte mobilité standard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tel que MOB, en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’identifiant</a:t>
            </a:r>
            <a:r>
              <a:rPr kumimoji="0" lang="fr-FR" sz="120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 avec celui-ci et en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partageant mes informations de profil</a:t>
            </a:r>
            <a:r>
              <a:rPr kumimoji="0" lang="fr-FR" sz="120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 auprès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es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aaS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/MSP que j’utilise</a:t>
            </a:r>
          </a:p>
        </p:txBody>
      </p:sp>
      <p:sp>
        <p:nvSpPr>
          <p:cNvPr id="38" name="Flowchart: Merge 37">
            <a:extLst>
              <a:ext uri="{FF2B5EF4-FFF2-40B4-BE49-F238E27FC236}">
                <a16:creationId xmlns:a16="http://schemas.microsoft.com/office/drawing/2014/main" id="{0914F1C8-7AA5-4CD8-B4C3-C90EDDDF6684}"/>
              </a:ext>
            </a:extLst>
          </p:cNvPr>
          <p:cNvSpPr/>
          <p:nvPr/>
        </p:nvSpPr>
        <p:spPr>
          <a:xfrm rot="8775747">
            <a:off x="7014367" y="2307948"/>
            <a:ext cx="236587" cy="187484"/>
          </a:xfrm>
          <a:prstGeom prst="flowChartMerge">
            <a:avLst/>
          </a:prstGeom>
          <a:solidFill>
            <a:srgbClr val="A0A0A0"/>
          </a:solidFill>
          <a:ln w="22225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A508768-FAED-47E4-A584-06AD2FD48402}"/>
              </a:ext>
            </a:extLst>
          </p:cNvPr>
          <p:cNvSpPr/>
          <p:nvPr/>
        </p:nvSpPr>
        <p:spPr>
          <a:xfrm>
            <a:off x="366287" y="5920197"/>
            <a:ext cx="3702218" cy="2564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1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* Illustration de cas de d’usages favorisés par la standardisation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469D923-2DA2-4AE0-B6A8-49CE99B5F7B1}"/>
              </a:ext>
            </a:extLst>
          </p:cNvPr>
          <p:cNvGrpSpPr/>
          <p:nvPr/>
        </p:nvGrpSpPr>
        <p:grpSpPr>
          <a:xfrm>
            <a:off x="6643434" y="3422777"/>
            <a:ext cx="906208" cy="906208"/>
            <a:chOff x="4138367" y="2073279"/>
            <a:chExt cx="906208" cy="90620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077653DD-39DE-4CFA-B57A-549572A42EF1}"/>
                </a:ext>
              </a:extLst>
            </p:cNvPr>
            <p:cNvSpPr/>
            <p:nvPr/>
          </p:nvSpPr>
          <p:spPr>
            <a:xfrm>
              <a:off x="4138367" y="2073279"/>
              <a:ext cx="906208" cy="906208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14B144F-8A89-4796-AA5A-5E629BB441DA}"/>
                </a:ext>
              </a:extLst>
            </p:cNvPr>
            <p:cNvGrpSpPr/>
            <p:nvPr/>
          </p:nvGrpSpPr>
          <p:grpSpPr>
            <a:xfrm>
              <a:off x="4256201" y="2191732"/>
              <a:ext cx="669302" cy="669302"/>
              <a:chOff x="4256201" y="2191732"/>
              <a:chExt cx="669302" cy="669302"/>
            </a:xfrm>
          </p:grpSpPr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B8B24CF-AD3D-48B1-9E96-0DDDE07A6819}"/>
                  </a:ext>
                </a:extLst>
              </p:cNvPr>
              <p:cNvSpPr/>
              <p:nvPr/>
            </p:nvSpPr>
            <p:spPr>
              <a:xfrm>
                <a:off x="4256201" y="2191732"/>
                <a:ext cx="669302" cy="669302"/>
              </a:xfrm>
              <a:prstGeom prst="ellipse">
                <a:avLst/>
              </a:prstGeom>
              <a:solidFill>
                <a:schemeClr val="bg1"/>
              </a:solidFill>
              <a:ln w="12700" cap="flat">
                <a:solidFill>
                  <a:schemeClr val="bg2">
                    <a:lumMod val="75000"/>
                  </a:schemeClr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AB90BEA7-5BE1-4DFE-A021-603CB4F8D110}"/>
                  </a:ext>
                </a:extLst>
              </p:cNvPr>
              <p:cNvSpPr/>
              <p:nvPr/>
            </p:nvSpPr>
            <p:spPr>
              <a:xfrm>
                <a:off x="4345756" y="2281287"/>
                <a:ext cx="490193" cy="490193"/>
              </a:xfrm>
              <a:prstGeom prst="ellipse">
                <a:avLst/>
              </a:prstGeom>
              <a:solidFill>
                <a:srgbClr val="00C87A"/>
              </a:solidFill>
              <a:ln w="22225" cap="flat">
                <a:solidFill>
                  <a:schemeClr val="bg2">
                    <a:lumMod val="75000"/>
                  </a:schemeClr>
                </a:solidFill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noAutofit/>
              </a:bodyPr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Jost Medium"/>
                </a:endParaRPr>
              </a:p>
            </p:txBody>
          </p:sp>
        </p:grpSp>
      </p:grpSp>
      <p:sp>
        <p:nvSpPr>
          <p:cNvPr id="56" name="Flowchart: Merge 55">
            <a:extLst>
              <a:ext uri="{FF2B5EF4-FFF2-40B4-BE49-F238E27FC236}">
                <a16:creationId xmlns:a16="http://schemas.microsoft.com/office/drawing/2014/main" id="{1AF21A89-64B2-4301-B2C4-3D21D61EBC56}"/>
              </a:ext>
            </a:extLst>
          </p:cNvPr>
          <p:cNvSpPr/>
          <p:nvPr/>
        </p:nvSpPr>
        <p:spPr>
          <a:xfrm rot="13130783">
            <a:off x="6732530" y="4235243"/>
            <a:ext cx="236587" cy="187484"/>
          </a:xfrm>
          <a:prstGeom prst="flowChartMerge">
            <a:avLst/>
          </a:prstGeom>
          <a:solidFill>
            <a:srgbClr val="A0A0A0"/>
          </a:solidFill>
          <a:ln w="22225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7" name="Flowchart: Merge 56">
            <a:extLst>
              <a:ext uri="{FF2B5EF4-FFF2-40B4-BE49-F238E27FC236}">
                <a16:creationId xmlns:a16="http://schemas.microsoft.com/office/drawing/2014/main" id="{979CEB8E-2B7B-4EA3-82DB-64F8840E04A2}"/>
              </a:ext>
            </a:extLst>
          </p:cNvPr>
          <p:cNvSpPr/>
          <p:nvPr/>
        </p:nvSpPr>
        <p:spPr>
          <a:xfrm rot="499210">
            <a:off x="7189263" y="3315271"/>
            <a:ext cx="236587" cy="187484"/>
          </a:xfrm>
          <a:prstGeom prst="flowChartMerge">
            <a:avLst/>
          </a:prstGeom>
          <a:solidFill>
            <a:srgbClr val="A0A0A0"/>
          </a:solidFill>
          <a:ln w="22225" cap="flat">
            <a:solidFill>
              <a:schemeClr val="bg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4F69DEE-09B9-4044-835D-56DF7C809FD5}"/>
              </a:ext>
            </a:extLst>
          </p:cNvPr>
          <p:cNvSpPr/>
          <p:nvPr/>
        </p:nvSpPr>
        <p:spPr>
          <a:xfrm>
            <a:off x="7383058" y="3730711"/>
            <a:ext cx="7232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C87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OM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691155D-B71C-4561-87CC-26F88ED5B249}"/>
              </a:ext>
            </a:extLst>
          </p:cNvPr>
          <p:cNvCxnSpPr>
            <a:cxnSpLocks/>
          </p:cNvCxnSpPr>
          <p:nvPr/>
        </p:nvCxnSpPr>
        <p:spPr>
          <a:xfrm>
            <a:off x="7459904" y="4119507"/>
            <a:ext cx="1440000" cy="0"/>
          </a:xfrm>
          <a:prstGeom prst="line">
            <a:avLst/>
          </a:prstGeom>
          <a:ln w="28575">
            <a:solidFill>
              <a:srgbClr val="00C8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9B885AAF-6419-4D52-A6DC-13E38734C944}"/>
              </a:ext>
            </a:extLst>
          </p:cNvPr>
          <p:cNvSpPr/>
          <p:nvPr/>
        </p:nvSpPr>
        <p:spPr>
          <a:xfrm>
            <a:off x="7374695" y="4145885"/>
            <a:ext cx="3992387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Je bénéficie de fonctionnalités et interfaces standards me permettant de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onstruire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 et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aire évoluer mon MaaS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plus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implement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 et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apidement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 et d’y intégrer mon compte mobilité</a:t>
            </a:r>
          </a:p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8229753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99A33903-A591-4E8D-ACE0-8F2DB0155DFF}"/>
              </a:ext>
            </a:extLst>
          </p:cNvPr>
          <p:cNvSpPr/>
          <p:nvPr/>
        </p:nvSpPr>
        <p:spPr>
          <a:xfrm>
            <a:off x="190159" y="5846848"/>
            <a:ext cx="11780869" cy="9580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spc="0" normalizeH="0" baseline="0">
              <a:ln>
                <a:noFill/>
              </a:ln>
              <a:effectLst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311D821-AEF7-4002-8E2E-12C7B9240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52" y="-11231"/>
            <a:ext cx="8935706" cy="906208"/>
          </a:xfrm>
        </p:spPr>
        <p:txBody>
          <a:bodyPr/>
          <a:lstStyle/>
          <a:p>
            <a:r>
              <a:rPr lang="fr-FR"/>
              <a:t>Architecture applicative et microservices Gateway</a:t>
            </a:r>
            <a:br>
              <a:rPr lang="fr-FR" sz="2000" spc="-40">
                <a:solidFill>
                  <a:srgbClr val="46496A"/>
                </a:solidFill>
                <a:latin typeface="Corbel" panose="020B0503020204020204" pitchFamily="34" charset="0"/>
                <a:cs typeface="Arial" panose="020B0604020202020204" pitchFamily="34" charset="0"/>
                <a:sym typeface="Futura"/>
              </a:rPr>
            </a:br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F56083-18B5-4FAE-8F91-65512E01C5AA}"/>
              </a:ext>
            </a:extLst>
          </p:cNvPr>
          <p:cNvSpPr/>
          <p:nvPr/>
        </p:nvSpPr>
        <p:spPr>
          <a:xfrm>
            <a:off x="4238555" y="512033"/>
            <a:ext cx="1960098" cy="262693"/>
          </a:xfrm>
          <a:prstGeom prst="rect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tilisateurs</a:t>
            </a:r>
          </a:p>
        </p:txBody>
      </p:sp>
      <p:sp>
        <p:nvSpPr>
          <p:cNvPr id="12" name="Rectangle: Rounded Corners 50">
            <a:extLst>
              <a:ext uri="{FF2B5EF4-FFF2-40B4-BE49-F238E27FC236}">
                <a16:creationId xmlns:a16="http://schemas.microsoft.com/office/drawing/2014/main" id="{F82D1158-108E-4F51-B874-D61470E35152}"/>
              </a:ext>
            </a:extLst>
          </p:cNvPr>
          <p:cNvSpPr/>
          <p:nvPr/>
        </p:nvSpPr>
        <p:spPr>
          <a:xfrm>
            <a:off x="2338604" y="845501"/>
            <a:ext cx="5760000" cy="311171"/>
          </a:xfrm>
          <a:prstGeom prst="roundRect">
            <a:avLst>
              <a:gd name="adj" fmla="val 10460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/>
            <a:r>
              <a:rPr lang="fr-FR" sz="1100" kern="0">
                <a:solidFill>
                  <a:srgbClr val="42142E"/>
                </a:solidFill>
                <a:latin typeface="Calibri"/>
              </a:rPr>
              <a:t>Partenaire MaaS / MSP</a:t>
            </a:r>
          </a:p>
        </p:txBody>
      </p:sp>
      <p:sp>
        <p:nvSpPr>
          <p:cNvPr id="15" name="Rectangle: Rounded Corners 54">
            <a:extLst>
              <a:ext uri="{FF2B5EF4-FFF2-40B4-BE49-F238E27FC236}">
                <a16:creationId xmlns:a16="http://schemas.microsoft.com/office/drawing/2014/main" id="{0D0548BF-F5E4-4264-82A2-B78F0E6E2772}"/>
              </a:ext>
            </a:extLst>
          </p:cNvPr>
          <p:cNvSpPr/>
          <p:nvPr/>
        </p:nvSpPr>
        <p:spPr>
          <a:xfrm>
            <a:off x="712590" y="1411284"/>
            <a:ext cx="10364801" cy="4256105"/>
          </a:xfrm>
          <a:prstGeom prst="roundRect">
            <a:avLst>
              <a:gd name="adj" fmla="val 29146"/>
            </a:avLst>
          </a:prstGeom>
          <a:solidFill>
            <a:srgbClr val="DAE9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1" kern="0">
              <a:solidFill>
                <a:srgbClr val="42142E"/>
              </a:solidFill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5092E28-5200-4575-BA5C-1EA9F1DB4B99}"/>
              </a:ext>
            </a:extLst>
          </p:cNvPr>
          <p:cNvSpPr/>
          <p:nvPr/>
        </p:nvSpPr>
        <p:spPr>
          <a:xfrm>
            <a:off x="4356613" y="3058084"/>
            <a:ext cx="1723980" cy="362654"/>
          </a:xfrm>
          <a:prstGeom prst="rect">
            <a:avLst/>
          </a:prstGeom>
          <a:solidFill>
            <a:srgbClr val="00B0F0"/>
          </a:solidFill>
          <a:ln w="127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outing-API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B9F556D-B3BC-4D3E-AAFE-88F6C08F9232}"/>
              </a:ext>
            </a:extLst>
          </p:cNvPr>
          <p:cNvSpPr/>
          <p:nvPr/>
        </p:nvSpPr>
        <p:spPr>
          <a:xfrm>
            <a:off x="2303489" y="2371726"/>
            <a:ext cx="5830230" cy="318723"/>
          </a:xfrm>
          <a:prstGeom prst="rect">
            <a:avLst/>
          </a:prstGeom>
          <a:solidFill>
            <a:srgbClr val="ED6C69">
              <a:alpha val="49804"/>
            </a:srgbClr>
          </a:solidFill>
          <a:ln w="12700" cap="flat">
            <a:solidFill>
              <a:srgbClr val="ED6C6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42142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C6BC988-EC43-45AB-BF50-038D2F21F73F}"/>
              </a:ext>
            </a:extLst>
          </p:cNvPr>
          <p:cNvSpPr/>
          <p:nvPr/>
        </p:nvSpPr>
        <p:spPr>
          <a:xfrm>
            <a:off x="1307476" y="1780983"/>
            <a:ext cx="7822256" cy="350637"/>
          </a:xfrm>
          <a:prstGeom prst="rect">
            <a:avLst/>
          </a:prstGeom>
          <a:solidFill>
            <a:srgbClr val="D90448"/>
          </a:solidFill>
          <a:ln w="12700" cap="flat">
            <a:solidFill>
              <a:srgbClr val="D90448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r>
              <a:rPr lang="fr-FR" sz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API-Management </a:t>
            </a:r>
          </a:p>
        </p:txBody>
      </p:sp>
      <p:cxnSp>
        <p:nvCxnSpPr>
          <p:cNvPr id="68" name="Straight Connector 49">
            <a:extLst>
              <a:ext uri="{FF2B5EF4-FFF2-40B4-BE49-F238E27FC236}">
                <a16:creationId xmlns:a16="http://schemas.microsoft.com/office/drawing/2014/main" id="{4DB7D092-66D4-4FCB-B706-03C925D75AC9}"/>
              </a:ext>
            </a:extLst>
          </p:cNvPr>
          <p:cNvCxnSpPr>
            <a:cxnSpLocks/>
            <a:stCxn id="60" idx="2"/>
          </p:cNvCxnSpPr>
          <p:nvPr/>
        </p:nvCxnSpPr>
        <p:spPr>
          <a:xfrm>
            <a:off x="5406844" y="5496085"/>
            <a:ext cx="0" cy="297122"/>
          </a:xfrm>
          <a:prstGeom prst="line">
            <a:avLst/>
          </a:prstGeom>
          <a:noFill/>
          <a:ln w="38100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sp>
        <p:nvSpPr>
          <p:cNvPr id="53" name="Rectangle: Rounded Corners 34">
            <a:extLst>
              <a:ext uri="{FF2B5EF4-FFF2-40B4-BE49-F238E27FC236}">
                <a16:creationId xmlns:a16="http://schemas.microsoft.com/office/drawing/2014/main" id="{B14062CF-AD55-46BD-B118-D12045B040AD}"/>
              </a:ext>
            </a:extLst>
          </p:cNvPr>
          <p:cNvSpPr/>
          <p:nvPr/>
        </p:nvSpPr>
        <p:spPr>
          <a:xfrm>
            <a:off x="2661907" y="5928969"/>
            <a:ext cx="6540251" cy="958096"/>
          </a:xfrm>
          <a:prstGeom prst="roundRect">
            <a:avLst>
              <a:gd name="adj" fmla="val 9230"/>
            </a:avLst>
          </a:prstGeom>
          <a:noFill/>
          <a:ln w="12700" cap="flat" cmpd="sng" algn="ctr">
            <a:solidFill>
              <a:srgbClr val="00C87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54" name="Rectangle: Rounded Corners 34">
            <a:extLst>
              <a:ext uri="{FF2B5EF4-FFF2-40B4-BE49-F238E27FC236}">
                <a16:creationId xmlns:a16="http://schemas.microsoft.com/office/drawing/2014/main" id="{9CAE739B-3DD0-4C75-92ED-6E5ECF4028AC}"/>
              </a:ext>
            </a:extLst>
          </p:cNvPr>
          <p:cNvSpPr/>
          <p:nvPr/>
        </p:nvSpPr>
        <p:spPr>
          <a:xfrm>
            <a:off x="2820879" y="6159088"/>
            <a:ext cx="1192692" cy="536967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Free Floating</a:t>
            </a:r>
            <a:r>
              <a:rPr lang="fr-FR" sz="1100" kern="0">
                <a:solidFill>
                  <a:srgbClr val="FFFFFF"/>
                </a:solidFill>
                <a:latin typeface="Calibri"/>
              </a:rPr>
              <a:t> </a:t>
            </a: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56" name="Rectangle: Rounded Corners 35">
            <a:extLst>
              <a:ext uri="{FF2B5EF4-FFF2-40B4-BE49-F238E27FC236}">
                <a16:creationId xmlns:a16="http://schemas.microsoft.com/office/drawing/2014/main" id="{327D7EE2-A2F6-40F5-8135-9C2910B27D62}"/>
              </a:ext>
            </a:extLst>
          </p:cNvPr>
          <p:cNvSpPr/>
          <p:nvPr/>
        </p:nvSpPr>
        <p:spPr>
          <a:xfrm>
            <a:off x="4084562" y="6159088"/>
            <a:ext cx="1192692" cy="536967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Autopartage</a:t>
            </a:r>
          </a:p>
        </p:txBody>
      </p:sp>
      <p:sp>
        <p:nvSpPr>
          <p:cNvPr id="57" name="Rectangle: Rounded Corners 44">
            <a:extLst>
              <a:ext uri="{FF2B5EF4-FFF2-40B4-BE49-F238E27FC236}">
                <a16:creationId xmlns:a16="http://schemas.microsoft.com/office/drawing/2014/main" id="{DAF5B812-B39C-414E-95D8-FED75322E3F9}"/>
              </a:ext>
            </a:extLst>
          </p:cNvPr>
          <p:cNvSpPr/>
          <p:nvPr/>
        </p:nvSpPr>
        <p:spPr>
          <a:xfrm>
            <a:off x="5345068" y="6172576"/>
            <a:ext cx="1192692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Stationnement</a:t>
            </a:r>
          </a:p>
        </p:txBody>
      </p:sp>
      <p:sp>
        <p:nvSpPr>
          <p:cNvPr id="58" name="Rectangle: Rounded Corners 45">
            <a:extLst>
              <a:ext uri="{FF2B5EF4-FFF2-40B4-BE49-F238E27FC236}">
                <a16:creationId xmlns:a16="http://schemas.microsoft.com/office/drawing/2014/main" id="{8147E533-98E5-437F-8F6A-08BB8F0EA1C2}"/>
              </a:ext>
            </a:extLst>
          </p:cNvPr>
          <p:cNvSpPr/>
          <p:nvPr/>
        </p:nvSpPr>
        <p:spPr>
          <a:xfrm>
            <a:off x="6591327" y="6171354"/>
            <a:ext cx="1273289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VTC</a:t>
            </a:r>
          </a:p>
        </p:txBody>
      </p:sp>
      <p:sp>
        <p:nvSpPr>
          <p:cNvPr id="59" name="Rectangle: Rounded Corners 46">
            <a:extLst>
              <a:ext uri="{FF2B5EF4-FFF2-40B4-BE49-F238E27FC236}">
                <a16:creationId xmlns:a16="http://schemas.microsoft.com/office/drawing/2014/main" id="{887EA733-F3AD-49FC-B6B2-2CC7EF60BA25}"/>
              </a:ext>
            </a:extLst>
          </p:cNvPr>
          <p:cNvSpPr/>
          <p:nvPr/>
        </p:nvSpPr>
        <p:spPr>
          <a:xfrm>
            <a:off x="7937041" y="6159088"/>
            <a:ext cx="1192692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Covoiturage</a:t>
            </a:r>
          </a:p>
        </p:txBody>
      </p:sp>
      <p:cxnSp>
        <p:nvCxnSpPr>
          <p:cNvPr id="61" name="Straight Connector 55">
            <a:extLst>
              <a:ext uri="{FF2B5EF4-FFF2-40B4-BE49-F238E27FC236}">
                <a16:creationId xmlns:a16="http://schemas.microsoft.com/office/drawing/2014/main" id="{1C9027F6-BF71-4202-9468-C5FBE2BFBD5E}"/>
              </a:ext>
            </a:extLst>
          </p:cNvPr>
          <p:cNvCxnSpPr>
            <a:cxnSpLocks/>
          </p:cNvCxnSpPr>
          <p:nvPr/>
        </p:nvCxnSpPr>
        <p:spPr>
          <a:xfrm flipH="1">
            <a:off x="3398912" y="5784732"/>
            <a:ext cx="4970769" cy="12227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2" name="Straight Connector 63">
            <a:extLst>
              <a:ext uri="{FF2B5EF4-FFF2-40B4-BE49-F238E27FC236}">
                <a16:creationId xmlns:a16="http://schemas.microsoft.com/office/drawing/2014/main" id="{6FF958B9-E57D-4BF4-971B-F149CF019CC1}"/>
              </a:ext>
            </a:extLst>
          </p:cNvPr>
          <p:cNvCxnSpPr>
            <a:cxnSpLocks/>
          </p:cNvCxnSpPr>
          <p:nvPr/>
        </p:nvCxnSpPr>
        <p:spPr>
          <a:xfrm flipV="1">
            <a:off x="3409317" y="5790592"/>
            <a:ext cx="0" cy="368496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3" name="Straight Connector 64">
            <a:extLst>
              <a:ext uri="{FF2B5EF4-FFF2-40B4-BE49-F238E27FC236}">
                <a16:creationId xmlns:a16="http://schemas.microsoft.com/office/drawing/2014/main" id="{8F8FF6FB-0004-41EB-9D2C-5517B2FFDC34}"/>
              </a:ext>
            </a:extLst>
          </p:cNvPr>
          <p:cNvCxnSpPr>
            <a:cxnSpLocks/>
          </p:cNvCxnSpPr>
          <p:nvPr/>
        </p:nvCxnSpPr>
        <p:spPr>
          <a:xfrm flipV="1">
            <a:off x="4634341" y="5790592"/>
            <a:ext cx="0" cy="368496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4" name="Straight Connector 66">
            <a:extLst>
              <a:ext uri="{FF2B5EF4-FFF2-40B4-BE49-F238E27FC236}">
                <a16:creationId xmlns:a16="http://schemas.microsoft.com/office/drawing/2014/main" id="{7D536C34-8154-4593-BBFA-F94C12ABE971}"/>
              </a:ext>
            </a:extLst>
          </p:cNvPr>
          <p:cNvCxnSpPr>
            <a:cxnSpLocks/>
          </p:cNvCxnSpPr>
          <p:nvPr/>
        </p:nvCxnSpPr>
        <p:spPr>
          <a:xfrm flipV="1">
            <a:off x="7227972" y="5790591"/>
            <a:ext cx="0" cy="292412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5" name="Straight Connector 67">
            <a:extLst>
              <a:ext uri="{FF2B5EF4-FFF2-40B4-BE49-F238E27FC236}">
                <a16:creationId xmlns:a16="http://schemas.microsoft.com/office/drawing/2014/main" id="{531338A4-6984-45C4-987E-9F0FC6120D44}"/>
              </a:ext>
            </a:extLst>
          </p:cNvPr>
          <p:cNvCxnSpPr>
            <a:cxnSpLocks/>
          </p:cNvCxnSpPr>
          <p:nvPr/>
        </p:nvCxnSpPr>
        <p:spPr>
          <a:xfrm flipV="1">
            <a:off x="8369681" y="5790591"/>
            <a:ext cx="0" cy="368497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6" name="Straight Connector 66">
            <a:extLst>
              <a:ext uri="{FF2B5EF4-FFF2-40B4-BE49-F238E27FC236}">
                <a16:creationId xmlns:a16="http://schemas.microsoft.com/office/drawing/2014/main" id="{C3CA94A3-5E85-41B8-9AAE-3551524B248F}"/>
              </a:ext>
            </a:extLst>
          </p:cNvPr>
          <p:cNvCxnSpPr>
            <a:cxnSpLocks/>
          </p:cNvCxnSpPr>
          <p:nvPr/>
        </p:nvCxnSpPr>
        <p:spPr>
          <a:xfrm flipV="1">
            <a:off x="5927166" y="5793277"/>
            <a:ext cx="0" cy="365811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8F953511-2D56-46DF-A285-C14ACEB8AD96}"/>
              </a:ext>
            </a:extLst>
          </p:cNvPr>
          <p:cNvSpPr txBox="1"/>
          <p:nvPr/>
        </p:nvSpPr>
        <p:spPr>
          <a:xfrm>
            <a:off x="2681318" y="5925673"/>
            <a:ext cx="952500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24383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200" b="1" i="1" kern="0">
                <a:solidFill>
                  <a:srgbClr val="00C87A"/>
                </a:solidFill>
                <a:latin typeface="Calibri" panose="020F0502020204030204" pitchFamily="34" charset="0"/>
                <a:sym typeface="Helvetica Neue"/>
              </a:rPr>
              <a:t>MSP</a:t>
            </a:r>
            <a:endParaRPr lang="fr-FR" sz="1200" b="1" i="1" kern="0">
              <a:solidFill>
                <a:srgbClr val="00C87A"/>
              </a:solidFill>
              <a:latin typeface="Calibri" panose="020F0502020204030204" pitchFamily="34" charset="0"/>
            </a:endParaRP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7067AC48-3E62-4C3F-8D99-61C9D2D55EAB}"/>
              </a:ext>
            </a:extLst>
          </p:cNvPr>
          <p:cNvCxnSpPr>
            <a:stCxn id="109" idx="2"/>
            <a:endCxn id="97" idx="0"/>
          </p:cNvCxnSpPr>
          <p:nvPr/>
        </p:nvCxnSpPr>
        <p:spPr>
          <a:xfrm>
            <a:off x="5218604" y="2131620"/>
            <a:ext cx="0" cy="24010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89B52B87-2654-4062-9697-BD2351593C9A}"/>
              </a:ext>
            </a:extLst>
          </p:cNvPr>
          <p:cNvCxnSpPr>
            <a:stCxn id="97" idx="2"/>
            <a:endCxn id="82" idx="0"/>
          </p:cNvCxnSpPr>
          <p:nvPr/>
        </p:nvCxnSpPr>
        <p:spPr>
          <a:xfrm flipH="1">
            <a:off x="5218603" y="2690449"/>
            <a:ext cx="1" cy="367635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F06A523A-8D85-4245-AF9B-8B5909BE2796}"/>
              </a:ext>
            </a:extLst>
          </p:cNvPr>
          <p:cNvSpPr/>
          <p:nvPr/>
        </p:nvSpPr>
        <p:spPr>
          <a:xfrm>
            <a:off x="4360662" y="5145448"/>
            <a:ext cx="2092364" cy="350637"/>
          </a:xfrm>
          <a:prstGeom prst="rect">
            <a:avLst/>
          </a:prstGeom>
          <a:solidFill>
            <a:srgbClr val="F9CECD">
              <a:alpha val="49804"/>
            </a:srgbClr>
          </a:solidFill>
          <a:ln w="12700" cap="flat">
            <a:solidFill>
              <a:srgbClr val="ED6C6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r>
              <a:rPr lang="fr-FR" sz="1100" b="1">
                <a:solidFill>
                  <a:srgbClr val="42142E"/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Request-rela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505C02E-E71C-4EA8-B6D7-212C9F3F5894}"/>
              </a:ext>
            </a:extLst>
          </p:cNvPr>
          <p:cNvSpPr/>
          <p:nvPr/>
        </p:nvSpPr>
        <p:spPr>
          <a:xfrm>
            <a:off x="2303489" y="4294556"/>
            <a:ext cx="5830230" cy="5334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spc="0" normalizeH="0" baseline="0">
              <a:ln>
                <a:noFill/>
              </a:ln>
              <a:effectLst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0FE28FF-7067-4AD9-92D1-4E89801DB388}"/>
              </a:ext>
            </a:extLst>
          </p:cNvPr>
          <p:cNvSpPr/>
          <p:nvPr/>
        </p:nvSpPr>
        <p:spPr>
          <a:xfrm>
            <a:off x="6889605" y="4269625"/>
            <a:ext cx="1739717" cy="2804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dapter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B05F753-71C9-48E2-8CD7-9AFBA5CB23FD}"/>
              </a:ext>
            </a:extLst>
          </p:cNvPr>
          <p:cNvSpPr/>
          <p:nvPr/>
        </p:nvSpPr>
        <p:spPr>
          <a:xfrm>
            <a:off x="8750502" y="1538130"/>
            <a:ext cx="1948234" cy="2428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rgbClr val="42142E"/>
                </a:solidFill>
                <a:effectLst/>
                <a:uLnTx/>
                <a:uFillTx/>
                <a:latin typeface="Calibri" panose="020F0502020204030204" pitchFamily="34" charset="0"/>
              </a:rPr>
              <a:t>		</a:t>
            </a: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 Gateway MCM Std MaaS </a:t>
            </a: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rgbClr val="42142E"/>
                </a:solidFill>
                <a:effectLst/>
                <a:uLnTx/>
                <a:uFillTx/>
                <a:latin typeface="Calibri" panose="020F0502020204030204" pitchFamily="34" charset="0"/>
              </a:rPr>
              <a:t>			</a:t>
            </a:r>
            <a:endParaRPr kumimoji="0" lang="fr-FR" sz="1100" b="1" i="0" u="none" strike="noStrike" kern="0" cap="none" spc="0" normalizeH="0" baseline="0" noProof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D22F6C9-2CB4-4E5B-B29D-97C925B7E321}"/>
              </a:ext>
            </a:extLst>
          </p:cNvPr>
          <p:cNvSpPr/>
          <p:nvPr/>
        </p:nvSpPr>
        <p:spPr>
          <a:xfrm>
            <a:off x="3368697" y="4417174"/>
            <a:ext cx="1739717" cy="28046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efault-Adapte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A30FEB5-24DE-4E67-96DE-B16AB8D7DE6E}"/>
              </a:ext>
            </a:extLst>
          </p:cNvPr>
          <p:cNvSpPr/>
          <p:nvPr/>
        </p:nvSpPr>
        <p:spPr>
          <a:xfrm>
            <a:off x="5402796" y="4406567"/>
            <a:ext cx="1739717" cy="28046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ustom-Adapte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50849CB0-D415-4C81-976E-9D5D88FCF91D}"/>
              </a:ext>
            </a:extLst>
          </p:cNvPr>
          <p:cNvCxnSpPr>
            <a:cxnSpLocks/>
            <a:stCxn id="12" idx="2"/>
            <a:endCxn id="109" idx="0"/>
          </p:cNvCxnSpPr>
          <p:nvPr/>
        </p:nvCxnSpPr>
        <p:spPr>
          <a:xfrm>
            <a:off x="5218604" y="1156672"/>
            <a:ext cx="0" cy="62431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" name="Losange 34">
            <a:extLst>
              <a:ext uri="{FF2B5EF4-FFF2-40B4-BE49-F238E27FC236}">
                <a16:creationId xmlns:a16="http://schemas.microsoft.com/office/drawing/2014/main" id="{A46D665C-5B40-4C08-B7CE-8D721DFC42B9}"/>
              </a:ext>
            </a:extLst>
          </p:cNvPr>
          <p:cNvSpPr/>
          <p:nvPr/>
        </p:nvSpPr>
        <p:spPr>
          <a:xfrm>
            <a:off x="5108414" y="3583157"/>
            <a:ext cx="236654" cy="259018"/>
          </a:xfrm>
          <a:prstGeom prst="diamond">
            <a:avLst/>
          </a:prstGeom>
          <a:solidFill>
            <a:srgbClr val="00B0F0"/>
          </a:solidFill>
          <a:ln w="127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2FC4AC55-A091-4F11-B264-EA402FB3CFC5}"/>
              </a:ext>
            </a:extLst>
          </p:cNvPr>
          <p:cNvCxnSpPr>
            <a:cxnSpLocks/>
            <a:stCxn id="82" idx="2"/>
            <a:endCxn id="35" idx="0"/>
          </p:cNvCxnSpPr>
          <p:nvPr/>
        </p:nvCxnSpPr>
        <p:spPr>
          <a:xfrm>
            <a:off x="5218603" y="3420738"/>
            <a:ext cx="8138" cy="162419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4" name="Connecteur : en angle 43">
            <a:extLst>
              <a:ext uri="{FF2B5EF4-FFF2-40B4-BE49-F238E27FC236}">
                <a16:creationId xmlns:a16="http://schemas.microsoft.com/office/drawing/2014/main" id="{81107543-22EE-4393-BD06-B81EC24874CC}"/>
              </a:ext>
            </a:extLst>
          </p:cNvPr>
          <p:cNvCxnSpPr>
            <a:stCxn id="35" idx="2"/>
            <a:endCxn id="50" idx="0"/>
          </p:cNvCxnSpPr>
          <p:nvPr/>
        </p:nvCxnSpPr>
        <p:spPr>
          <a:xfrm rot="16200000" flipH="1">
            <a:off x="5467502" y="3601414"/>
            <a:ext cx="564392" cy="1045914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2" name="Connecteur : en angle 71">
            <a:extLst>
              <a:ext uri="{FF2B5EF4-FFF2-40B4-BE49-F238E27FC236}">
                <a16:creationId xmlns:a16="http://schemas.microsoft.com/office/drawing/2014/main" id="{EA11F631-3C18-4627-AB49-C61AFB464B50}"/>
              </a:ext>
            </a:extLst>
          </p:cNvPr>
          <p:cNvCxnSpPr>
            <a:stCxn id="35" idx="2"/>
            <a:endCxn id="49" idx="0"/>
          </p:cNvCxnSpPr>
          <p:nvPr/>
        </p:nvCxnSpPr>
        <p:spPr>
          <a:xfrm rot="5400000">
            <a:off x="4445150" y="3635582"/>
            <a:ext cx="574999" cy="988185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5" name="Connecteur : en angle 74">
            <a:extLst>
              <a:ext uri="{FF2B5EF4-FFF2-40B4-BE49-F238E27FC236}">
                <a16:creationId xmlns:a16="http://schemas.microsoft.com/office/drawing/2014/main" id="{65A8DDDC-5319-4F3C-98B7-5FC124F09E46}"/>
              </a:ext>
            </a:extLst>
          </p:cNvPr>
          <p:cNvCxnSpPr>
            <a:cxnSpLocks/>
            <a:stCxn id="50" idx="2"/>
            <a:endCxn id="60" idx="0"/>
          </p:cNvCxnSpPr>
          <p:nvPr/>
        </p:nvCxnSpPr>
        <p:spPr>
          <a:xfrm rot="5400000">
            <a:off x="5610543" y="4483336"/>
            <a:ext cx="458414" cy="865811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6" name="Connecteur : en angle 85">
            <a:extLst>
              <a:ext uri="{FF2B5EF4-FFF2-40B4-BE49-F238E27FC236}">
                <a16:creationId xmlns:a16="http://schemas.microsoft.com/office/drawing/2014/main" id="{426FA69F-E433-4A87-818F-C8055876645A}"/>
              </a:ext>
            </a:extLst>
          </p:cNvPr>
          <p:cNvCxnSpPr>
            <a:stCxn id="49" idx="2"/>
            <a:endCxn id="60" idx="0"/>
          </p:cNvCxnSpPr>
          <p:nvPr/>
        </p:nvCxnSpPr>
        <p:spPr>
          <a:xfrm rot="16200000" flipH="1">
            <a:off x="4598797" y="4337400"/>
            <a:ext cx="447807" cy="1168288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530C508D-E3A2-4473-8304-384765F94E7E}"/>
              </a:ext>
            </a:extLst>
          </p:cNvPr>
          <p:cNvSpPr/>
          <p:nvPr/>
        </p:nvSpPr>
        <p:spPr>
          <a:xfrm>
            <a:off x="9106378" y="3066346"/>
            <a:ext cx="1739717" cy="362654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ata-API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96" name="Connecteur : en angle 95">
            <a:extLst>
              <a:ext uri="{FF2B5EF4-FFF2-40B4-BE49-F238E27FC236}">
                <a16:creationId xmlns:a16="http://schemas.microsoft.com/office/drawing/2014/main" id="{9449A5FB-B484-4C29-B0A7-A9A5F55988AC}"/>
              </a:ext>
            </a:extLst>
          </p:cNvPr>
          <p:cNvCxnSpPr>
            <a:cxnSpLocks/>
            <a:endCxn id="95" idx="0"/>
          </p:cNvCxnSpPr>
          <p:nvPr/>
        </p:nvCxnSpPr>
        <p:spPr>
          <a:xfrm rot="16200000" flipH="1">
            <a:off x="7409472" y="499580"/>
            <a:ext cx="375897" cy="4757633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1EC704F2-16FC-499C-8911-218DF7650535}"/>
              </a:ext>
            </a:extLst>
          </p:cNvPr>
          <p:cNvSpPr/>
          <p:nvPr/>
        </p:nvSpPr>
        <p:spPr>
          <a:xfrm>
            <a:off x="6994757" y="3058084"/>
            <a:ext cx="1739717" cy="362654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ache-Manage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100" name="Connecteur : en angle 99">
            <a:extLst>
              <a:ext uri="{FF2B5EF4-FFF2-40B4-BE49-F238E27FC236}">
                <a16:creationId xmlns:a16="http://schemas.microsoft.com/office/drawing/2014/main" id="{498FA410-672B-4171-9050-F093FD170EA5}"/>
              </a:ext>
            </a:extLst>
          </p:cNvPr>
          <p:cNvCxnSpPr>
            <a:cxnSpLocks/>
            <a:endCxn id="99" idx="0"/>
          </p:cNvCxnSpPr>
          <p:nvPr/>
        </p:nvCxnSpPr>
        <p:spPr>
          <a:xfrm rot="16200000" flipH="1">
            <a:off x="6357793" y="1551260"/>
            <a:ext cx="367635" cy="2646012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80A6F337-5A85-4549-B3C2-715C7D1B8B58}"/>
              </a:ext>
            </a:extLst>
          </p:cNvPr>
          <p:cNvSpPr/>
          <p:nvPr/>
        </p:nvSpPr>
        <p:spPr>
          <a:xfrm>
            <a:off x="9136177" y="3880394"/>
            <a:ext cx="1739717" cy="362654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kron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</p:spTree>
    <p:extLst>
      <p:ext uri="{BB962C8B-B14F-4D97-AF65-F5344CB8AC3E}">
        <p14:creationId xmlns:p14="http://schemas.microsoft.com/office/powerpoint/2010/main" val="3608061277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: Rounded Corners 54">
            <a:extLst>
              <a:ext uri="{FF2B5EF4-FFF2-40B4-BE49-F238E27FC236}">
                <a16:creationId xmlns:a16="http://schemas.microsoft.com/office/drawing/2014/main" id="{9C310A23-112F-40BB-B761-3C11F6A383B4}"/>
              </a:ext>
            </a:extLst>
          </p:cNvPr>
          <p:cNvSpPr/>
          <p:nvPr/>
        </p:nvSpPr>
        <p:spPr>
          <a:xfrm>
            <a:off x="701895" y="1435407"/>
            <a:ext cx="10451656" cy="4256105"/>
          </a:xfrm>
          <a:prstGeom prst="roundRect">
            <a:avLst>
              <a:gd name="adj" fmla="val 29146"/>
            </a:avLst>
          </a:prstGeom>
          <a:solidFill>
            <a:srgbClr val="DAE9FD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1" kern="0">
              <a:solidFill>
                <a:srgbClr val="42142E"/>
              </a:solidFill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9A33903-A591-4E8D-ACE0-8F2DB0155DFF}"/>
              </a:ext>
            </a:extLst>
          </p:cNvPr>
          <p:cNvSpPr/>
          <p:nvPr/>
        </p:nvSpPr>
        <p:spPr>
          <a:xfrm>
            <a:off x="190159" y="5846848"/>
            <a:ext cx="11780869" cy="94586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spc="0" normalizeH="0" baseline="0">
              <a:ln>
                <a:noFill/>
              </a:ln>
              <a:effectLst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311D821-AEF7-4002-8E2E-12C7B9240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52" y="-11231"/>
            <a:ext cx="8935706" cy="906208"/>
          </a:xfrm>
        </p:spPr>
        <p:txBody>
          <a:bodyPr/>
          <a:lstStyle/>
          <a:p>
            <a:r>
              <a:rPr lang="fr-FR"/>
              <a:t>Architecture applicative et microservices  internes Gateway</a:t>
            </a:r>
            <a:br>
              <a:rPr lang="fr-FR" sz="2000" spc="-40">
                <a:solidFill>
                  <a:srgbClr val="46496A"/>
                </a:solidFill>
                <a:latin typeface="Corbel" panose="020B0503020204020204" pitchFamily="34" charset="0"/>
                <a:cs typeface="Arial" panose="020B0604020202020204" pitchFamily="34" charset="0"/>
                <a:sym typeface="Futura"/>
              </a:rPr>
            </a:br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F56083-18B5-4FAE-8F91-65512E01C5AA}"/>
              </a:ext>
            </a:extLst>
          </p:cNvPr>
          <p:cNvSpPr/>
          <p:nvPr/>
        </p:nvSpPr>
        <p:spPr>
          <a:xfrm>
            <a:off x="4238555" y="512033"/>
            <a:ext cx="1960098" cy="262693"/>
          </a:xfrm>
          <a:prstGeom prst="rect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tilisateurs</a:t>
            </a:r>
          </a:p>
        </p:txBody>
      </p:sp>
      <p:sp>
        <p:nvSpPr>
          <p:cNvPr id="12" name="Rectangle: Rounded Corners 50">
            <a:extLst>
              <a:ext uri="{FF2B5EF4-FFF2-40B4-BE49-F238E27FC236}">
                <a16:creationId xmlns:a16="http://schemas.microsoft.com/office/drawing/2014/main" id="{F82D1158-108E-4F51-B874-D61470E35152}"/>
              </a:ext>
            </a:extLst>
          </p:cNvPr>
          <p:cNvSpPr/>
          <p:nvPr/>
        </p:nvSpPr>
        <p:spPr>
          <a:xfrm>
            <a:off x="2338604" y="845501"/>
            <a:ext cx="5760000" cy="311171"/>
          </a:xfrm>
          <a:prstGeom prst="roundRect">
            <a:avLst>
              <a:gd name="adj" fmla="val 10460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/>
            <a:r>
              <a:rPr lang="fr-FR" sz="1100" kern="0">
                <a:solidFill>
                  <a:srgbClr val="42142E"/>
                </a:solidFill>
                <a:latin typeface="Calibri"/>
              </a:rPr>
              <a:t>Partenaire MaaS / MSP</a:t>
            </a:r>
          </a:p>
        </p:txBody>
      </p:sp>
      <p:sp>
        <p:nvSpPr>
          <p:cNvPr id="15" name="Rectangle: Rounded Corners 54">
            <a:extLst>
              <a:ext uri="{FF2B5EF4-FFF2-40B4-BE49-F238E27FC236}">
                <a16:creationId xmlns:a16="http://schemas.microsoft.com/office/drawing/2014/main" id="{0D0548BF-F5E4-4264-82A2-B78F0E6E2772}"/>
              </a:ext>
            </a:extLst>
          </p:cNvPr>
          <p:cNvSpPr/>
          <p:nvPr/>
        </p:nvSpPr>
        <p:spPr>
          <a:xfrm>
            <a:off x="2030822" y="2772570"/>
            <a:ext cx="9035874" cy="2284527"/>
          </a:xfrm>
          <a:prstGeom prst="roundRect">
            <a:avLst>
              <a:gd name="adj" fmla="val 29146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1" kern="0">
              <a:solidFill>
                <a:srgbClr val="42142E"/>
              </a:solidFill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5092E28-5200-4575-BA5C-1EA9F1DB4B99}"/>
              </a:ext>
            </a:extLst>
          </p:cNvPr>
          <p:cNvSpPr/>
          <p:nvPr/>
        </p:nvSpPr>
        <p:spPr>
          <a:xfrm>
            <a:off x="4356613" y="3058084"/>
            <a:ext cx="1723980" cy="362654"/>
          </a:xfrm>
          <a:prstGeom prst="rect">
            <a:avLst/>
          </a:prstGeom>
          <a:solidFill>
            <a:srgbClr val="00B0F0"/>
          </a:solidFill>
          <a:ln w="127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outing-API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B9F556D-B3BC-4D3E-AAFE-88F6C08F9232}"/>
              </a:ext>
            </a:extLst>
          </p:cNvPr>
          <p:cNvSpPr/>
          <p:nvPr/>
        </p:nvSpPr>
        <p:spPr>
          <a:xfrm>
            <a:off x="2303489" y="2371726"/>
            <a:ext cx="5830230" cy="318723"/>
          </a:xfrm>
          <a:prstGeom prst="rect">
            <a:avLst/>
          </a:prstGeom>
          <a:solidFill>
            <a:srgbClr val="ED6C69">
              <a:alpha val="49804"/>
            </a:srgbClr>
          </a:solidFill>
          <a:ln w="12700" cap="flat">
            <a:solidFill>
              <a:srgbClr val="ED6C6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42142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21C4A84-5D2F-4A05-A257-995E275951CB}"/>
              </a:ext>
            </a:extLst>
          </p:cNvPr>
          <p:cNvSpPr/>
          <p:nvPr/>
        </p:nvSpPr>
        <p:spPr>
          <a:xfrm>
            <a:off x="9106378" y="3066346"/>
            <a:ext cx="1739717" cy="362654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ata-API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C6BC988-EC43-45AB-BF50-038D2F21F73F}"/>
              </a:ext>
            </a:extLst>
          </p:cNvPr>
          <p:cNvSpPr/>
          <p:nvPr/>
        </p:nvSpPr>
        <p:spPr>
          <a:xfrm>
            <a:off x="1307476" y="1780983"/>
            <a:ext cx="7822256" cy="350637"/>
          </a:xfrm>
          <a:prstGeom prst="rect">
            <a:avLst/>
          </a:prstGeom>
          <a:solidFill>
            <a:srgbClr val="D90448"/>
          </a:solidFill>
          <a:ln w="12700" cap="flat">
            <a:solidFill>
              <a:srgbClr val="D90448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r>
              <a:rPr lang="fr-FR" sz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API-Management </a:t>
            </a:r>
          </a:p>
        </p:txBody>
      </p:sp>
      <p:cxnSp>
        <p:nvCxnSpPr>
          <p:cNvPr id="68" name="Straight Connector 49">
            <a:extLst>
              <a:ext uri="{FF2B5EF4-FFF2-40B4-BE49-F238E27FC236}">
                <a16:creationId xmlns:a16="http://schemas.microsoft.com/office/drawing/2014/main" id="{4DB7D092-66D4-4FCB-B706-03C925D75AC9}"/>
              </a:ext>
            </a:extLst>
          </p:cNvPr>
          <p:cNvCxnSpPr>
            <a:cxnSpLocks/>
            <a:stCxn id="60" idx="2"/>
          </p:cNvCxnSpPr>
          <p:nvPr/>
        </p:nvCxnSpPr>
        <p:spPr>
          <a:xfrm>
            <a:off x="5406844" y="5496085"/>
            <a:ext cx="0" cy="297122"/>
          </a:xfrm>
          <a:prstGeom prst="line">
            <a:avLst/>
          </a:prstGeom>
          <a:noFill/>
          <a:ln w="38100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sp>
        <p:nvSpPr>
          <p:cNvPr id="53" name="Rectangle: Rounded Corners 34">
            <a:extLst>
              <a:ext uri="{FF2B5EF4-FFF2-40B4-BE49-F238E27FC236}">
                <a16:creationId xmlns:a16="http://schemas.microsoft.com/office/drawing/2014/main" id="{B14062CF-AD55-46BD-B118-D12045B040AD}"/>
              </a:ext>
            </a:extLst>
          </p:cNvPr>
          <p:cNvSpPr/>
          <p:nvPr/>
        </p:nvSpPr>
        <p:spPr>
          <a:xfrm>
            <a:off x="2661907" y="5928969"/>
            <a:ext cx="6540251" cy="832148"/>
          </a:xfrm>
          <a:prstGeom prst="roundRect">
            <a:avLst>
              <a:gd name="adj" fmla="val 9230"/>
            </a:avLst>
          </a:prstGeom>
          <a:noFill/>
          <a:ln w="12700" cap="flat" cmpd="sng" algn="ctr">
            <a:solidFill>
              <a:srgbClr val="00C87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54" name="Rectangle: Rounded Corners 34">
            <a:extLst>
              <a:ext uri="{FF2B5EF4-FFF2-40B4-BE49-F238E27FC236}">
                <a16:creationId xmlns:a16="http://schemas.microsoft.com/office/drawing/2014/main" id="{9CAE739B-3DD0-4C75-92ED-6E5ECF4028AC}"/>
              </a:ext>
            </a:extLst>
          </p:cNvPr>
          <p:cNvSpPr/>
          <p:nvPr/>
        </p:nvSpPr>
        <p:spPr>
          <a:xfrm>
            <a:off x="2820879" y="6159088"/>
            <a:ext cx="1192692" cy="536967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Free Floating</a:t>
            </a:r>
            <a:r>
              <a:rPr lang="fr-FR" sz="1100" kern="0">
                <a:solidFill>
                  <a:srgbClr val="FFFFFF"/>
                </a:solidFill>
                <a:latin typeface="Calibri"/>
              </a:rPr>
              <a:t> </a:t>
            </a: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56" name="Rectangle: Rounded Corners 35">
            <a:extLst>
              <a:ext uri="{FF2B5EF4-FFF2-40B4-BE49-F238E27FC236}">
                <a16:creationId xmlns:a16="http://schemas.microsoft.com/office/drawing/2014/main" id="{327D7EE2-A2F6-40F5-8135-9C2910B27D62}"/>
              </a:ext>
            </a:extLst>
          </p:cNvPr>
          <p:cNvSpPr/>
          <p:nvPr/>
        </p:nvSpPr>
        <p:spPr>
          <a:xfrm>
            <a:off x="4084562" y="6159088"/>
            <a:ext cx="1192692" cy="536967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Autopartage</a:t>
            </a:r>
          </a:p>
        </p:txBody>
      </p:sp>
      <p:sp>
        <p:nvSpPr>
          <p:cNvPr id="57" name="Rectangle: Rounded Corners 44">
            <a:extLst>
              <a:ext uri="{FF2B5EF4-FFF2-40B4-BE49-F238E27FC236}">
                <a16:creationId xmlns:a16="http://schemas.microsoft.com/office/drawing/2014/main" id="{DAF5B812-B39C-414E-95D8-FED75322E3F9}"/>
              </a:ext>
            </a:extLst>
          </p:cNvPr>
          <p:cNvSpPr/>
          <p:nvPr/>
        </p:nvSpPr>
        <p:spPr>
          <a:xfrm>
            <a:off x="5345068" y="6172576"/>
            <a:ext cx="1192692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Stationnement</a:t>
            </a:r>
          </a:p>
        </p:txBody>
      </p:sp>
      <p:sp>
        <p:nvSpPr>
          <p:cNvPr id="58" name="Rectangle: Rounded Corners 45">
            <a:extLst>
              <a:ext uri="{FF2B5EF4-FFF2-40B4-BE49-F238E27FC236}">
                <a16:creationId xmlns:a16="http://schemas.microsoft.com/office/drawing/2014/main" id="{8147E533-98E5-437F-8F6A-08BB8F0EA1C2}"/>
              </a:ext>
            </a:extLst>
          </p:cNvPr>
          <p:cNvSpPr/>
          <p:nvPr/>
        </p:nvSpPr>
        <p:spPr>
          <a:xfrm>
            <a:off x="6591327" y="6171354"/>
            <a:ext cx="1273289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VTC</a:t>
            </a:r>
          </a:p>
        </p:txBody>
      </p:sp>
      <p:sp>
        <p:nvSpPr>
          <p:cNvPr id="59" name="Rectangle: Rounded Corners 46">
            <a:extLst>
              <a:ext uri="{FF2B5EF4-FFF2-40B4-BE49-F238E27FC236}">
                <a16:creationId xmlns:a16="http://schemas.microsoft.com/office/drawing/2014/main" id="{887EA733-F3AD-49FC-B6B2-2CC7EF60BA25}"/>
              </a:ext>
            </a:extLst>
          </p:cNvPr>
          <p:cNvSpPr/>
          <p:nvPr/>
        </p:nvSpPr>
        <p:spPr>
          <a:xfrm>
            <a:off x="7937041" y="6159088"/>
            <a:ext cx="1192692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Covoiturage</a:t>
            </a:r>
          </a:p>
        </p:txBody>
      </p:sp>
      <p:cxnSp>
        <p:nvCxnSpPr>
          <p:cNvPr id="61" name="Straight Connector 55">
            <a:extLst>
              <a:ext uri="{FF2B5EF4-FFF2-40B4-BE49-F238E27FC236}">
                <a16:creationId xmlns:a16="http://schemas.microsoft.com/office/drawing/2014/main" id="{1C9027F6-BF71-4202-9468-C5FBE2BFBD5E}"/>
              </a:ext>
            </a:extLst>
          </p:cNvPr>
          <p:cNvCxnSpPr>
            <a:cxnSpLocks/>
          </p:cNvCxnSpPr>
          <p:nvPr/>
        </p:nvCxnSpPr>
        <p:spPr>
          <a:xfrm flipH="1">
            <a:off x="3398912" y="5784732"/>
            <a:ext cx="4970769" cy="12227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2" name="Straight Connector 63">
            <a:extLst>
              <a:ext uri="{FF2B5EF4-FFF2-40B4-BE49-F238E27FC236}">
                <a16:creationId xmlns:a16="http://schemas.microsoft.com/office/drawing/2014/main" id="{6FF958B9-E57D-4BF4-971B-F149CF019CC1}"/>
              </a:ext>
            </a:extLst>
          </p:cNvPr>
          <p:cNvCxnSpPr>
            <a:cxnSpLocks/>
          </p:cNvCxnSpPr>
          <p:nvPr/>
        </p:nvCxnSpPr>
        <p:spPr>
          <a:xfrm flipV="1">
            <a:off x="3409317" y="5790592"/>
            <a:ext cx="0" cy="368496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3" name="Straight Connector 64">
            <a:extLst>
              <a:ext uri="{FF2B5EF4-FFF2-40B4-BE49-F238E27FC236}">
                <a16:creationId xmlns:a16="http://schemas.microsoft.com/office/drawing/2014/main" id="{8F8FF6FB-0004-41EB-9D2C-5517B2FFDC34}"/>
              </a:ext>
            </a:extLst>
          </p:cNvPr>
          <p:cNvCxnSpPr>
            <a:cxnSpLocks/>
          </p:cNvCxnSpPr>
          <p:nvPr/>
        </p:nvCxnSpPr>
        <p:spPr>
          <a:xfrm flipV="1">
            <a:off x="4634341" y="5790592"/>
            <a:ext cx="0" cy="368496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4" name="Straight Connector 66">
            <a:extLst>
              <a:ext uri="{FF2B5EF4-FFF2-40B4-BE49-F238E27FC236}">
                <a16:creationId xmlns:a16="http://schemas.microsoft.com/office/drawing/2014/main" id="{7D536C34-8154-4593-BBFA-F94C12ABE971}"/>
              </a:ext>
            </a:extLst>
          </p:cNvPr>
          <p:cNvCxnSpPr>
            <a:cxnSpLocks/>
          </p:cNvCxnSpPr>
          <p:nvPr/>
        </p:nvCxnSpPr>
        <p:spPr>
          <a:xfrm flipV="1">
            <a:off x="7227972" y="5790591"/>
            <a:ext cx="0" cy="292412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5" name="Straight Connector 67">
            <a:extLst>
              <a:ext uri="{FF2B5EF4-FFF2-40B4-BE49-F238E27FC236}">
                <a16:creationId xmlns:a16="http://schemas.microsoft.com/office/drawing/2014/main" id="{531338A4-6984-45C4-987E-9F0FC6120D44}"/>
              </a:ext>
            </a:extLst>
          </p:cNvPr>
          <p:cNvCxnSpPr>
            <a:cxnSpLocks/>
          </p:cNvCxnSpPr>
          <p:nvPr/>
        </p:nvCxnSpPr>
        <p:spPr>
          <a:xfrm flipV="1">
            <a:off x="8369681" y="5790591"/>
            <a:ext cx="0" cy="368497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6" name="Straight Connector 66">
            <a:extLst>
              <a:ext uri="{FF2B5EF4-FFF2-40B4-BE49-F238E27FC236}">
                <a16:creationId xmlns:a16="http://schemas.microsoft.com/office/drawing/2014/main" id="{C3CA94A3-5E85-41B8-9AAE-3551524B248F}"/>
              </a:ext>
            </a:extLst>
          </p:cNvPr>
          <p:cNvCxnSpPr>
            <a:cxnSpLocks/>
          </p:cNvCxnSpPr>
          <p:nvPr/>
        </p:nvCxnSpPr>
        <p:spPr>
          <a:xfrm flipV="1">
            <a:off x="5927166" y="5793277"/>
            <a:ext cx="0" cy="365811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8F953511-2D56-46DF-A285-C14ACEB8AD96}"/>
              </a:ext>
            </a:extLst>
          </p:cNvPr>
          <p:cNvSpPr txBox="1"/>
          <p:nvPr/>
        </p:nvSpPr>
        <p:spPr>
          <a:xfrm>
            <a:off x="2681318" y="5925673"/>
            <a:ext cx="952500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24383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200" b="1" i="1" kern="0">
                <a:solidFill>
                  <a:srgbClr val="00C87A"/>
                </a:solidFill>
                <a:latin typeface="Calibri" panose="020F0502020204030204" pitchFamily="34" charset="0"/>
                <a:sym typeface="Helvetica Neue"/>
              </a:rPr>
              <a:t>MSP</a:t>
            </a:r>
            <a:endParaRPr lang="fr-FR" sz="1200" b="1" i="1" kern="0">
              <a:solidFill>
                <a:srgbClr val="00C87A"/>
              </a:solidFill>
              <a:latin typeface="Calibri" panose="020F0502020204030204" pitchFamily="34" charset="0"/>
            </a:endParaRP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7067AC48-3E62-4C3F-8D99-61C9D2D55EAB}"/>
              </a:ext>
            </a:extLst>
          </p:cNvPr>
          <p:cNvCxnSpPr>
            <a:stCxn id="109" idx="2"/>
            <a:endCxn id="97" idx="0"/>
          </p:cNvCxnSpPr>
          <p:nvPr/>
        </p:nvCxnSpPr>
        <p:spPr>
          <a:xfrm>
            <a:off x="5218604" y="2131620"/>
            <a:ext cx="0" cy="24010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89B52B87-2654-4062-9697-BD2351593C9A}"/>
              </a:ext>
            </a:extLst>
          </p:cNvPr>
          <p:cNvCxnSpPr>
            <a:stCxn id="97" idx="2"/>
            <a:endCxn id="82" idx="0"/>
          </p:cNvCxnSpPr>
          <p:nvPr/>
        </p:nvCxnSpPr>
        <p:spPr>
          <a:xfrm flipH="1">
            <a:off x="5218603" y="2690449"/>
            <a:ext cx="1" cy="367635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Connecteur : en angle 18">
            <a:extLst>
              <a:ext uri="{FF2B5EF4-FFF2-40B4-BE49-F238E27FC236}">
                <a16:creationId xmlns:a16="http://schemas.microsoft.com/office/drawing/2014/main" id="{016EE7E4-8BBD-46F3-A6E3-163E01FF9722}"/>
              </a:ext>
            </a:extLst>
          </p:cNvPr>
          <p:cNvCxnSpPr>
            <a:cxnSpLocks/>
            <a:stCxn id="97" idx="2"/>
            <a:endCxn id="98" idx="0"/>
          </p:cNvCxnSpPr>
          <p:nvPr/>
        </p:nvCxnSpPr>
        <p:spPr>
          <a:xfrm rot="16200000" flipH="1">
            <a:off x="7409472" y="499580"/>
            <a:ext cx="375897" cy="4757633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F06A523A-8D85-4245-AF9B-8B5909BE2796}"/>
              </a:ext>
            </a:extLst>
          </p:cNvPr>
          <p:cNvSpPr/>
          <p:nvPr/>
        </p:nvSpPr>
        <p:spPr>
          <a:xfrm>
            <a:off x="4360662" y="5145448"/>
            <a:ext cx="2092364" cy="350637"/>
          </a:xfrm>
          <a:prstGeom prst="rect">
            <a:avLst/>
          </a:prstGeom>
          <a:solidFill>
            <a:srgbClr val="F9CECD">
              <a:alpha val="49804"/>
            </a:srgbClr>
          </a:solidFill>
          <a:ln w="12700" cap="flat">
            <a:solidFill>
              <a:srgbClr val="ED6C6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r>
              <a:rPr lang="fr-FR" sz="1100" b="1">
                <a:solidFill>
                  <a:srgbClr val="42142E"/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Request-rela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505C02E-E71C-4EA8-B6D7-212C9F3F5894}"/>
              </a:ext>
            </a:extLst>
          </p:cNvPr>
          <p:cNvSpPr/>
          <p:nvPr/>
        </p:nvSpPr>
        <p:spPr>
          <a:xfrm>
            <a:off x="2303489" y="4294556"/>
            <a:ext cx="5830230" cy="5334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spc="0" normalizeH="0" baseline="0">
              <a:ln>
                <a:noFill/>
              </a:ln>
              <a:effectLst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0FE28FF-7067-4AD9-92D1-4E89801DB388}"/>
              </a:ext>
            </a:extLst>
          </p:cNvPr>
          <p:cNvSpPr/>
          <p:nvPr/>
        </p:nvSpPr>
        <p:spPr>
          <a:xfrm>
            <a:off x="6889605" y="4269625"/>
            <a:ext cx="1739717" cy="2804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dapter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B05F753-71C9-48E2-8CD7-9AFBA5CB23FD}"/>
              </a:ext>
            </a:extLst>
          </p:cNvPr>
          <p:cNvSpPr/>
          <p:nvPr/>
        </p:nvSpPr>
        <p:spPr>
          <a:xfrm>
            <a:off x="8750502" y="1538130"/>
            <a:ext cx="1948234" cy="2428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rgbClr val="42142E"/>
                </a:solidFill>
                <a:effectLst/>
                <a:uLnTx/>
                <a:uFillTx/>
                <a:latin typeface="Calibri" panose="020F0502020204030204" pitchFamily="34" charset="0"/>
              </a:rPr>
              <a:t>		</a:t>
            </a: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 Gateway MCM Std MaaS </a:t>
            </a: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rgbClr val="42142E"/>
                </a:solidFill>
                <a:effectLst/>
                <a:uLnTx/>
                <a:uFillTx/>
                <a:latin typeface="Calibri" panose="020F0502020204030204" pitchFamily="34" charset="0"/>
              </a:rPr>
              <a:t>			</a:t>
            </a:r>
            <a:endParaRPr kumimoji="0" lang="fr-FR" sz="1100" b="1" i="0" u="none" strike="noStrike" kern="0" cap="none" spc="0" normalizeH="0" baseline="0" noProof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D22F6C9-2CB4-4E5B-B29D-97C925B7E321}"/>
              </a:ext>
            </a:extLst>
          </p:cNvPr>
          <p:cNvSpPr/>
          <p:nvPr/>
        </p:nvSpPr>
        <p:spPr>
          <a:xfrm>
            <a:off x="3368697" y="4417174"/>
            <a:ext cx="1739717" cy="28046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efault-Adapte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A30FEB5-24DE-4E67-96DE-B16AB8D7DE6E}"/>
              </a:ext>
            </a:extLst>
          </p:cNvPr>
          <p:cNvSpPr/>
          <p:nvPr/>
        </p:nvSpPr>
        <p:spPr>
          <a:xfrm>
            <a:off x="5402796" y="4406567"/>
            <a:ext cx="1739717" cy="28046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ustom-Adapte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50849CB0-D415-4C81-976E-9D5D88FCF91D}"/>
              </a:ext>
            </a:extLst>
          </p:cNvPr>
          <p:cNvCxnSpPr>
            <a:cxnSpLocks/>
            <a:stCxn id="12" idx="2"/>
            <a:endCxn id="109" idx="0"/>
          </p:cNvCxnSpPr>
          <p:nvPr/>
        </p:nvCxnSpPr>
        <p:spPr>
          <a:xfrm>
            <a:off x="5218604" y="1156672"/>
            <a:ext cx="0" cy="62431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" name="Losange 34">
            <a:extLst>
              <a:ext uri="{FF2B5EF4-FFF2-40B4-BE49-F238E27FC236}">
                <a16:creationId xmlns:a16="http://schemas.microsoft.com/office/drawing/2014/main" id="{A46D665C-5B40-4C08-B7CE-8D721DFC42B9}"/>
              </a:ext>
            </a:extLst>
          </p:cNvPr>
          <p:cNvSpPr/>
          <p:nvPr/>
        </p:nvSpPr>
        <p:spPr>
          <a:xfrm>
            <a:off x="5108414" y="3583157"/>
            <a:ext cx="236654" cy="259018"/>
          </a:xfrm>
          <a:prstGeom prst="diamond">
            <a:avLst/>
          </a:prstGeom>
          <a:solidFill>
            <a:srgbClr val="00B0F0"/>
          </a:solidFill>
          <a:ln w="127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2FC4AC55-A091-4F11-B264-EA402FB3CFC5}"/>
              </a:ext>
            </a:extLst>
          </p:cNvPr>
          <p:cNvCxnSpPr>
            <a:cxnSpLocks/>
            <a:stCxn id="82" idx="2"/>
            <a:endCxn id="35" idx="0"/>
          </p:cNvCxnSpPr>
          <p:nvPr/>
        </p:nvCxnSpPr>
        <p:spPr>
          <a:xfrm>
            <a:off x="5218603" y="3420738"/>
            <a:ext cx="8138" cy="162419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4" name="Connecteur : en angle 43">
            <a:extLst>
              <a:ext uri="{FF2B5EF4-FFF2-40B4-BE49-F238E27FC236}">
                <a16:creationId xmlns:a16="http://schemas.microsoft.com/office/drawing/2014/main" id="{81107543-22EE-4393-BD06-B81EC24874CC}"/>
              </a:ext>
            </a:extLst>
          </p:cNvPr>
          <p:cNvCxnSpPr>
            <a:stCxn id="35" idx="2"/>
            <a:endCxn id="50" idx="0"/>
          </p:cNvCxnSpPr>
          <p:nvPr/>
        </p:nvCxnSpPr>
        <p:spPr>
          <a:xfrm rot="16200000" flipH="1">
            <a:off x="5467502" y="3601414"/>
            <a:ext cx="564392" cy="1045914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2" name="Connecteur : en angle 71">
            <a:extLst>
              <a:ext uri="{FF2B5EF4-FFF2-40B4-BE49-F238E27FC236}">
                <a16:creationId xmlns:a16="http://schemas.microsoft.com/office/drawing/2014/main" id="{EA11F631-3C18-4627-AB49-C61AFB464B50}"/>
              </a:ext>
            </a:extLst>
          </p:cNvPr>
          <p:cNvCxnSpPr>
            <a:stCxn id="35" idx="2"/>
            <a:endCxn id="49" idx="0"/>
          </p:cNvCxnSpPr>
          <p:nvPr/>
        </p:nvCxnSpPr>
        <p:spPr>
          <a:xfrm rot="5400000">
            <a:off x="4445150" y="3635582"/>
            <a:ext cx="574999" cy="988185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5" name="Connecteur : en angle 74">
            <a:extLst>
              <a:ext uri="{FF2B5EF4-FFF2-40B4-BE49-F238E27FC236}">
                <a16:creationId xmlns:a16="http://schemas.microsoft.com/office/drawing/2014/main" id="{65A8DDDC-5319-4F3C-98B7-5FC124F09E46}"/>
              </a:ext>
            </a:extLst>
          </p:cNvPr>
          <p:cNvCxnSpPr>
            <a:cxnSpLocks/>
            <a:stCxn id="50" idx="2"/>
            <a:endCxn id="60" idx="0"/>
          </p:cNvCxnSpPr>
          <p:nvPr/>
        </p:nvCxnSpPr>
        <p:spPr>
          <a:xfrm rot="5400000">
            <a:off x="5610543" y="4483336"/>
            <a:ext cx="458414" cy="865811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6" name="Connecteur : en angle 85">
            <a:extLst>
              <a:ext uri="{FF2B5EF4-FFF2-40B4-BE49-F238E27FC236}">
                <a16:creationId xmlns:a16="http://schemas.microsoft.com/office/drawing/2014/main" id="{426FA69F-E433-4A87-818F-C8055876645A}"/>
              </a:ext>
            </a:extLst>
          </p:cNvPr>
          <p:cNvCxnSpPr>
            <a:stCxn id="49" idx="2"/>
            <a:endCxn id="60" idx="0"/>
          </p:cNvCxnSpPr>
          <p:nvPr/>
        </p:nvCxnSpPr>
        <p:spPr>
          <a:xfrm rot="16200000" flipH="1">
            <a:off x="4598797" y="4337400"/>
            <a:ext cx="447807" cy="1168288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30CBFD75-B6AE-486D-AABA-EE8F552CE3E6}"/>
              </a:ext>
            </a:extLst>
          </p:cNvPr>
          <p:cNvSpPr/>
          <p:nvPr/>
        </p:nvSpPr>
        <p:spPr>
          <a:xfrm>
            <a:off x="6994757" y="3058084"/>
            <a:ext cx="1739717" cy="362654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ache-Manage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45" name="Connecteur : en angle 44">
            <a:extLst>
              <a:ext uri="{FF2B5EF4-FFF2-40B4-BE49-F238E27FC236}">
                <a16:creationId xmlns:a16="http://schemas.microsoft.com/office/drawing/2014/main" id="{5035A93B-9F8F-4DC0-80E9-16864715768E}"/>
              </a:ext>
            </a:extLst>
          </p:cNvPr>
          <p:cNvCxnSpPr>
            <a:cxnSpLocks/>
            <a:stCxn id="97" idx="2"/>
            <a:endCxn id="41" idx="0"/>
          </p:cNvCxnSpPr>
          <p:nvPr/>
        </p:nvCxnSpPr>
        <p:spPr>
          <a:xfrm rot="16200000" flipH="1">
            <a:off x="6357793" y="1551260"/>
            <a:ext cx="367635" cy="2646012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F3ACA1FF-1E5C-4765-BD86-BC08981E72DF}"/>
              </a:ext>
            </a:extLst>
          </p:cNvPr>
          <p:cNvSpPr/>
          <p:nvPr/>
        </p:nvSpPr>
        <p:spPr>
          <a:xfrm>
            <a:off x="9136177" y="3880394"/>
            <a:ext cx="1739717" cy="362654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kron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</p:spTree>
    <p:extLst>
      <p:ext uri="{BB962C8B-B14F-4D97-AF65-F5344CB8AC3E}">
        <p14:creationId xmlns:p14="http://schemas.microsoft.com/office/powerpoint/2010/main" val="3748497594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: Rounded Corners 54">
            <a:extLst>
              <a:ext uri="{FF2B5EF4-FFF2-40B4-BE49-F238E27FC236}">
                <a16:creationId xmlns:a16="http://schemas.microsoft.com/office/drawing/2014/main" id="{9C310A23-112F-40BB-B761-3C11F6A383B4}"/>
              </a:ext>
            </a:extLst>
          </p:cNvPr>
          <p:cNvSpPr/>
          <p:nvPr/>
        </p:nvSpPr>
        <p:spPr>
          <a:xfrm>
            <a:off x="701895" y="1435407"/>
            <a:ext cx="10451656" cy="4256105"/>
          </a:xfrm>
          <a:prstGeom prst="roundRect">
            <a:avLst>
              <a:gd name="adj" fmla="val 29146"/>
            </a:avLst>
          </a:prstGeom>
          <a:solidFill>
            <a:srgbClr val="DAE9FD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1" kern="0">
              <a:solidFill>
                <a:srgbClr val="42142E"/>
              </a:solidFill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9A33903-A591-4E8D-ACE0-8F2DB0155DFF}"/>
              </a:ext>
            </a:extLst>
          </p:cNvPr>
          <p:cNvSpPr/>
          <p:nvPr/>
        </p:nvSpPr>
        <p:spPr>
          <a:xfrm>
            <a:off x="190159" y="5846848"/>
            <a:ext cx="11780869" cy="94586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spc="0" normalizeH="0" baseline="0">
              <a:ln>
                <a:noFill/>
              </a:ln>
              <a:effectLst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311D821-AEF7-4002-8E2E-12C7B9240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52" y="-11231"/>
            <a:ext cx="8935706" cy="906208"/>
          </a:xfrm>
        </p:spPr>
        <p:txBody>
          <a:bodyPr/>
          <a:lstStyle/>
          <a:p>
            <a:r>
              <a:rPr lang="fr-FR"/>
              <a:t>Architecture applicative et microservices  des flux sortants Gateway</a:t>
            </a:r>
            <a:br>
              <a:rPr lang="fr-FR" sz="2000" spc="-40">
                <a:solidFill>
                  <a:srgbClr val="46496A"/>
                </a:solidFill>
                <a:latin typeface="Corbel" panose="020B0503020204020204" pitchFamily="34" charset="0"/>
                <a:cs typeface="Arial" panose="020B0604020202020204" pitchFamily="34" charset="0"/>
                <a:sym typeface="Futura"/>
              </a:rPr>
            </a:br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F56083-18B5-4FAE-8F91-65512E01C5AA}"/>
              </a:ext>
            </a:extLst>
          </p:cNvPr>
          <p:cNvSpPr/>
          <p:nvPr/>
        </p:nvSpPr>
        <p:spPr>
          <a:xfrm>
            <a:off x="4238555" y="512033"/>
            <a:ext cx="1960098" cy="262693"/>
          </a:xfrm>
          <a:prstGeom prst="rect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tilisateurs</a:t>
            </a:r>
          </a:p>
        </p:txBody>
      </p:sp>
      <p:sp>
        <p:nvSpPr>
          <p:cNvPr id="12" name="Rectangle: Rounded Corners 50">
            <a:extLst>
              <a:ext uri="{FF2B5EF4-FFF2-40B4-BE49-F238E27FC236}">
                <a16:creationId xmlns:a16="http://schemas.microsoft.com/office/drawing/2014/main" id="{F82D1158-108E-4F51-B874-D61470E35152}"/>
              </a:ext>
            </a:extLst>
          </p:cNvPr>
          <p:cNvSpPr/>
          <p:nvPr/>
        </p:nvSpPr>
        <p:spPr>
          <a:xfrm>
            <a:off x="2338604" y="845501"/>
            <a:ext cx="5760000" cy="311171"/>
          </a:xfrm>
          <a:prstGeom prst="roundRect">
            <a:avLst>
              <a:gd name="adj" fmla="val 10460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/>
            <a:r>
              <a:rPr lang="fr-FR" sz="1100" kern="0">
                <a:solidFill>
                  <a:srgbClr val="42142E"/>
                </a:solidFill>
                <a:latin typeface="Calibri"/>
              </a:rPr>
              <a:t>Partenaire MaaS / MSP</a:t>
            </a:r>
          </a:p>
        </p:txBody>
      </p:sp>
      <p:sp>
        <p:nvSpPr>
          <p:cNvPr id="15" name="Rectangle: Rounded Corners 54">
            <a:extLst>
              <a:ext uri="{FF2B5EF4-FFF2-40B4-BE49-F238E27FC236}">
                <a16:creationId xmlns:a16="http://schemas.microsoft.com/office/drawing/2014/main" id="{0D0548BF-F5E4-4264-82A2-B78F0E6E2772}"/>
              </a:ext>
            </a:extLst>
          </p:cNvPr>
          <p:cNvSpPr/>
          <p:nvPr/>
        </p:nvSpPr>
        <p:spPr>
          <a:xfrm>
            <a:off x="3633818" y="4976786"/>
            <a:ext cx="3594154" cy="609583"/>
          </a:xfrm>
          <a:prstGeom prst="roundRect">
            <a:avLst>
              <a:gd name="adj" fmla="val 29146"/>
            </a:avLst>
          </a:prstGeom>
          <a:solidFill>
            <a:srgbClr val="7030A0"/>
          </a:solidFill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1" kern="0">
              <a:solidFill>
                <a:srgbClr val="42142E"/>
              </a:solidFill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5092E28-5200-4575-BA5C-1EA9F1DB4B99}"/>
              </a:ext>
            </a:extLst>
          </p:cNvPr>
          <p:cNvSpPr/>
          <p:nvPr/>
        </p:nvSpPr>
        <p:spPr>
          <a:xfrm>
            <a:off x="4356613" y="3058084"/>
            <a:ext cx="1723980" cy="362654"/>
          </a:xfrm>
          <a:prstGeom prst="rect">
            <a:avLst/>
          </a:prstGeom>
          <a:solidFill>
            <a:srgbClr val="00B0F0"/>
          </a:solidFill>
          <a:ln w="127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Routing-API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B9F556D-B3BC-4D3E-AAFE-88F6C08F9232}"/>
              </a:ext>
            </a:extLst>
          </p:cNvPr>
          <p:cNvSpPr/>
          <p:nvPr/>
        </p:nvSpPr>
        <p:spPr>
          <a:xfrm>
            <a:off x="2303489" y="2371726"/>
            <a:ext cx="5830230" cy="318723"/>
          </a:xfrm>
          <a:prstGeom prst="rect">
            <a:avLst/>
          </a:prstGeom>
          <a:solidFill>
            <a:srgbClr val="ED6C69">
              <a:alpha val="49804"/>
            </a:srgbClr>
          </a:solidFill>
          <a:ln w="12700" cap="flat">
            <a:solidFill>
              <a:srgbClr val="ED6C6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42142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42142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21C4A84-5D2F-4A05-A257-995E275951CB}"/>
              </a:ext>
            </a:extLst>
          </p:cNvPr>
          <p:cNvSpPr/>
          <p:nvPr/>
        </p:nvSpPr>
        <p:spPr>
          <a:xfrm>
            <a:off x="9106378" y="3066346"/>
            <a:ext cx="1739717" cy="362654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ata-API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C6BC988-EC43-45AB-BF50-038D2F21F73F}"/>
              </a:ext>
            </a:extLst>
          </p:cNvPr>
          <p:cNvSpPr/>
          <p:nvPr/>
        </p:nvSpPr>
        <p:spPr>
          <a:xfrm>
            <a:off x="1307476" y="1780983"/>
            <a:ext cx="7822256" cy="350637"/>
          </a:xfrm>
          <a:prstGeom prst="rect">
            <a:avLst/>
          </a:prstGeom>
          <a:solidFill>
            <a:srgbClr val="D90448"/>
          </a:solidFill>
          <a:ln w="12700" cap="flat">
            <a:solidFill>
              <a:srgbClr val="D90448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r>
              <a:rPr lang="fr-FR" sz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API-Management </a:t>
            </a:r>
          </a:p>
        </p:txBody>
      </p:sp>
      <p:cxnSp>
        <p:nvCxnSpPr>
          <p:cNvPr id="68" name="Straight Connector 49">
            <a:extLst>
              <a:ext uri="{FF2B5EF4-FFF2-40B4-BE49-F238E27FC236}">
                <a16:creationId xmlns:a16="http://schemas.microsoft.com/office/drawing/2014/main" id="{4DB7D092-66D4-4FCB-B706-03C925D75AC9}"/>
              </a:ext>
            </a:extLst>
          </p:cNvPr>
          <p:cNvCxnSpPr>
            <a:cxnSpLocks/>
            <a:stCxn id="60" idx="2"/>
          </p:cNvCxnSpPr>
          <p:nvPr/>
        </p:nvCxnSpPr>
        <p:spPr>
          <a:xfrm>
            <a:off x="5406844" y="5496085"/>
            <a:ext cx="0" cy="297122"/>
          </a:xfrm>
          <a:prstGeom prst="line">
            <a:avLst/>
          </a:prstGeom>
          <a:noFill/>
          <a:ln w="38100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sp>
        <p:nvSpPr>
          <p:cNvPr id="53" name="Rectangle: Rounded Corners 34">
            <a:extLst>
              <a:ext uri="{FF2B5EF4-FFF2-40B4-BE49-F238E27FC236}">
                <a16:creationId xmlns:a16="http://schemas.microsoft.com/office/drawing/2014/main" id="{B14062CF-AD55-46BD-B118-D12045B040AD}"/>
              </a:ext>
            </a:extLst>
          </p:cNvPr>
          <p:cNvSpPr/>
          <p:nvPr/>
        </p:nvSpPr>
        <p:spPr>
          <a:xfrm>
            <a:off x="2661907" y="5928969"/>
            <a:ext cx="6540251" cy="832148"/>
          </a:xfrm>
          <a:prstGeom prst="roundRect">
            <a:avLst>
              <a:gd name="adj" fmla="val 9230"/>
            </a:avLst>
          </a:prstGeom>
          <a:noFill/>
          <a:ln w="12700" cap="flat" cmpd="sng" algn="ctr">
            <a:solidFill>
              <a:srgbClr val="00C87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54" name="Rectangle: Rounded Corners 34">
            <a:extLst>
              <a:ext uri="{FF2B5EF4-FFF2-40B4-BE49-F238E27FC236}">
                <a16:creationId xmlns:a16="http://schemas.microsoft.com/office/drawing/2014/main" id="{9CAE739B-3DD0-4C75-92ED-6E5ECF4028AC}"/>
              </a:ext>
            </a:extLst>
          </p:cNvPr>
          <p:cNvSpPr/>
          <p:nvPr/>
        </p:nvSpPr>
        <p:spPr>
          <a:xfrm>
            <a:off x="2820879" y="6159088"/>
            <a:ext cx="1192692" cy="536967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Free Floating</a:t>
            </a:r>
            <a:r>
              <a:rPr lang="fr-FR" sz="1100" kern="0">
                <a:solidFill>
                  <a:srgbClr val="FFFFFF"/>
                </a:solidFill>
                <a:latin typeface="Calibri"/>
              </a:rPr>
              <a:t> </a:t>
            </a:r>
            <a:endParaRPr kumimoji="0" lang="fr-FR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56" name="Rectangle: Rounded Corners 35">
            <a:extLst>
              <a:ext uri="{FF2B5EF4-FFF2-40B4-BE49-F238E27FC236}">
                <a16:creationId xmlns:a16="http://schemas.microsoft.com/office/drawing/2014/main" id="{327D7EE2-A2F6-40F5-8135-9C2910B27D62}"/>
              </a:ext>
            </a:extLst>
          </p:cNvPr>
          <p:cNvSpPr/>
          <p:nvPr/>
        </p:nvSpPr>
        <p:spPr>
          <a:xfrm>
            <a:off x="4084562" y="6159088"/>
            <a:ext cx="1192692" cy="536967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Autopartage</a:t>
            </a:r>
          </a:p>
        </p:txBody>
      </p:sp>
      <p:sp>
        <p:nvSpPr>
          <p:cNvPr id="57" name="Rectangle: Rounded Corners 44">
            <a:extLst>
              <a:ext uri="{FF2B5EF4-FFF2-40B4-BE49-F238E27FC236}">
                <a16:creationId xmlns:a16="http://schemas.microsoft.com/office/drawing/2014/main" id="{DAF5B812-B39C-414E-95D8-FED75322E3F9}"/>
              </a:ext>
            </a:extLst>
          </p:cNvPr>
          <p:cNvSpPr/>
          <p:nvPr/>
        </p:nvSpPr>
        <p:spPr>
          <a:xfrm>
            <a:off x="5345068" y="6172576"/>
            <a:ext cx="1192692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Stationnement</a:t>
            </a:r>
          </a:p>
        </p:txBody>
      </p:sp>
      <p:sp>
        <p:nvSpPr>
          <p:cNvPr id="58" name="Rectangle: Rounded Corners 45">
            <a:extLst>
              <a:ext uri="{FF2B5EF4-FFF2-40B4-BE49-F238E27FC236}">
                <a16:creationId xmlns:a16="http://schemas.microsoft.com/office/drawing/2014/main" id="{8147E533-98E5-437F-8F6A-08BB8F0EA1C2}"/>
              </a:ext>
            </a:extLst>
          </p:cNvPr>
          <p:cNvSpPr/>
          <p:nvPr/>
        </p:nvSpPr>
        <p:spPr>
          <a:xfrm>
            <a:off x="6591327" y="6171354"/>
            <a:ext cx="1273289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VTC</a:t>
            </a:r>
          </a:p>
        </p:txBody>
      </p:sp>
      <p:sp>
        <p:nvSpPr>
          <p:cNvPr id="59" name="Rectangle: Rounded Corners 46">
            <a:extLst>
              <a:ext uri="{FF2B5EF4-FFF2-40B4-BE49-F238E27FC236}">
                <a16:creationId xmlns:a16="http://schemas.microsoft.com/office/drawing/2014/main" id="{887EA733-F3AD-49FC-B6B2-2CC7EF60BA25}"/>
              </a:ext>
            </a:extLst>
          </p:cNvPr>
          <p:cNvSpPr/>
          <p:nvPr/>
        </p:nvSpPr>
        <p:spPr>
          <a:xfrm>
            <a:off x="7937041" y="6159088"/>
            <a:ext cx="1192692" cy="528513"/>
          </a:xfrm>
          <a:prstGeom prst="roundRect">
            <a:avLst>
              <a:gd name="adj" fmla="val 33112"/>
            </a:avLst>
          </a:prstGeom>
          <a:solidFill>
            <a:srgbClr val="00C8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Covoiturage</a:t>
            </a:r>
          </a:p>
        </p:txBody>
      </p:sp>
      <p:cxnSp>
        <p:nvCxnSpPr>
          <p:cNvPr id="61" name="Straight Connector 55">
            <a:extLst>
              <a:ext uri="{FF2B5EF4-FFF2-40B4-BE49-F238E27FC236}">
                <a16:creationId xmlns:a16="http://schemas.microsoft.com/office/drawing/2014/main" id="{1C9027F6-BF71-4202-9468-C5FBE2BFBD5E}"/>
              </a:ext>
            </a:extLst>
          </p:cNvPr>
          <p:cNvCxnSpPr>
            <a:cxnSpLocks/>
          </p:cNvCxnSpPr>
          <p:nvPr/>
        </p:nvCxnSpPr>
        <p:spPr>
          <a:xfrm flipH="1">
            <a:off x="3398912" y="5784732"/>
            <a:ext cx="4970769" cy="12227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2" name="Straight Connector 63">
            <a:extLst>
              <a:ext uri="{FF2B5EF4-FFF2-40B4-BE49-F238E27FC236}">
                <a16:creationId xmlns:a16="http://schemas.microsoft.com/office/drawing/2014/main" id="{6FF958B9-E57D-4BF4-971B-F149CF019CC1}"/>
              </a:ext>
            </a:extLst>
          </p:cNvPr>
          <p:cNvCxnSpPr>
            <a:cxnSpLocks/>
          </p:cNvCxnSpPr>
          <p:nvPr/>
        </p:nvCxnSpPr>
        <p:spPr>
          <a:xfrm flipV="1">
            <a:off x="3409317" y="5790592"/>
            <a:ext cx="0" cy="368496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3" name="Straight Connector 64">
            <a:extLst>
              <a:ext uri="{FF2B5EF4-FFF2-40B4-BE49-F238E27FC236}">
                <a16:creationId xmlns:a16="http://schemas.microsoft.com/office/drawing/2014/main" id="{8F8FF6FB-0004-41EB-9D2C-5517B2FFDC34}"/>
              </a:ext>
            </a:extLst>
          </p:cNvPr>
          <p:cNvCxnSpPr>
            <a:cxnSpLocks/>
          </p:cNvCxnSpPr>
          <p:nvPr/>
        </p:nvCxnSpPr>
        <p:spPr>
          <a:xfrm flipV="1">
            <a:off x="4634341" y="5790592"/>
            <a:ext cx="0" cy="368496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4" name="Straight Connector 66">
            <a:extLst>
              <a:ext uri="{FF2B5EF4-FFF2-40B4-BE49-F238E27FC236}">
                <a16:creationId xmlns:a16="http://schemas.microsoft.com/office/drawing/2014/main" id="{7D536C34-8154-4593-BBFA-F94C12ABE971}"/>
              </a:ext>
            </a:extLst>
          </p:cNvPr>
          <p:cNvCxnSpPr>
            <a:cxnSpLocks/>
          </p:cNvCxnSpPr>
          <p:nvPr/>
        </p:nvCxnSpPr>
        <p:spPr>
          <a:xfrm flipV="1">
            <a:off x="7227972" y="5790591"/>
            <a:ext cx="0" cy="292412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5" name="Straight Connector 67">
            <a:extLst>
              <a:ext uri="{FF2B5EF4-FFF2-40B4-BE49-F238E27FC236}">
                <a16:creationId xmlns:a16="http://schemas.microsoft.com/office/drawing/2014/main" id="{531338A4-6984-45C4-987E-9F0FC6120D44}"/>
              </a:ext>
            </a:extLst>
          </p:cNvPr>
          <p:cNvCxnSpPr>
            <a:cxnSpLocks/>
          </p:cNvCxnSpPr>
          <p:nvPr/>
        </p:nvCxnSpPr>
        <p:spPr>
          <a:xfrm flipV="1">
            <a:off x="8369681" y="5790591"/>
            <a:ext cx="0" cy="368497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cxnSp>
        <p:nvCxnSpPr>
          <p:cNvPr id="66" name="Straight Connector 66">
            <a:extLst>
              <a:ext uri="{FF2B5EF4-FFF2-40B4-BE49-F238E27FC236}">
                <a16:creationId xmlns:a16="http://schemas.microsoft.com/office/drawing/2014/main" id="{C3CA94A3-5E85-41B8-9AAE-3551524B248F}"/>
              </a:ext>
            </a:extLst>
          </p:cNvPr>
          <p:cNvCxnSpPr>
            <a:cxnSpLocks/>
          </p:cNvCxnSpPr>
          <p:nvPr/>
        </p:nvCxnSpPr>
        <p:spPr>
          <a:xfrm flipV="1">
            <a:off x="5927166" y="5793277"/>
            <a:ext cx="0" cy="365811"/>
          </a:xfrm>
          <a:prstGeom prst="line">
            <a:avLst/>
          </a:prstGeom>
          <a:noFill/>
          <a:ln w="28575" cap="flat" cmpd="sng" algn="ctr">
            <a:solidFill>
              <a:srgbClr val="00C87A"/>
            </a:solidFill>
            <a:prstDash val="solid"/>
            <a:miter lim="800000"/>
          </a:ln>
          <a:effectLst/>
        </p:spPr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8F953511-2D56-46DF-A285-C14ACEB8AD96}"/>
              </a:ext>
            </a:extLst>
          </p:cNvPr>
          <p:cNvSpPr txBox="1"/>
          <p:nvPr/>
        </p:nvSpPr>
        <p:spPr>
          <a:xfrm>
            <a:off x="2681318" y="5925673"/>
            <a:ext cx="952500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 defTabSz="24383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fr-FR" sz="1200" b="1" i="1" kern="0">
                <a:solidFill>
                  <a:srgbClr val="00C87A"/>
                </a:solidFill>
                <a:latin typeface="Calibri" panose="020F0502020204030204" pitchFamily="34" charset="0"/>
                <a:sym typeface="Helvetica Neue"/>
              </a:rPr>
              <a:t>MSP</a:t>
            </a:r>
            <a:endParaRPr lang="fr-FR" sz="1200" b="1" i="1" kern="0">
              <a:solidFill>
                <a:srgbClr val="00C87A"/>
              </a:solidFill>
              <a:latin typeface="Calibri" panose="020F0502020204030204" pitchFamily="34" charset="0"/>
            </a:endParaRP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7067AC48-3E62-4C3F-8D99-61C9D2D55EAB}"/>
              </a:ext>
            </a:extLst>
          </p:cNvPr>
          <p:cNvCxnSpPr>
            <a:stCxn id="109" idx="2"/>
            <a:endCxn id="97" idx="0"/>
          </p:cNvCxnSpPr>
          <p:nvPr/>
        </p:nvCxnSpPr>
        <p:spPr>
          <a:xfrm>
            <a:off x="5218604" y="2131620"/>
            <a:ext cx="0" cy="24010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89B52B87-2654-4062-9697-BD2351593C9A}"/>
              </a:ext>
            </a:extLst>
          </p:cNvPr>
          <p:cNvCxnSpPr>
            <a:stCxn id="97" idx="2"/>
            <a:endCxn id="82" idx="0"/>
          </p:cNvCxnSpPr>
          <p:nvPr/>
        </p:nvCxnSpPr>
        <p:spPr>
          <a:xfrm flipH="1">
            <a:off x="5218603" y="2690449"/>
            <a:ext cx="1" cy="367635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Connecteur : en angle 18">
            <a:extLst>
              <a:ext uri="{FF2B5EF4-FFF2-40B4-BE49-F238E27FC236}">
                <a16:creationId xmlns:a16="http://schemas.microsoft.com/office/drawing/2014/main" id="{016EE7E4-8BBD-46F3-A6E3-163E01FF9722}"/>
              </a:ext>
            </a:extLst>
          </p:cNvPr>
          <p:cNvCxnSpPr>
            <a:cxnSpLocks/>
            <a:stCxn id="97" idx="2"/>
            <a:endCxn id="98" idx="0"/>
          </p:cNvCxnSpPr>
          <p:nvPr/>
        </p:nvCxnSpPr>
        <p:spPr>
          <a:xfrm rot="16200000" flipH="1">
            <a:off x="7409472" y="499580"/>
            <a:ext cx="375897" cy="4757633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F06A523A-8D85-4245-AF9B-8B5909BE2796}"/>
              </a:ext>
            </a:extLst>
          </p:cNvPr>
          <p:cNvSpPr/>
          <p:nvPr/>
        </p:nvSpPr>
        <p:spPr>
          <a:xfrm>
            <a:off x="4360662" y="5145448"/>
            <a:ext cx="2092364" cy="350637"/>
          </a:xfrm>
          <a:prstGeom prst="rect">
            <a:avLst/>
          </a:prstGeom>
          <a:solidFill>
            <a:srgbClr val="F9CECD">
              <a:alpha val="49804"/>
            </a:srgbClr>
          </a:solidFill>
          <a:ln w="12700" cap="flat">
            <a:solidFill>
              <a:srgbClr val="ED6C6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r>
              <a:rPr lang="fr-FR" sz="1100" b="1">
                <a:solidFill>
                  <a:srgbClr val="42142E"/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Request-rela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505C02E-E71C-4EA8-B6D7-212C9F3F5894}"/>
              </a:ext>
            </a:extLst>
          </p:cNvPr>
          <p:cNvSpPr/>
          <p:nvPr/>
        </p:nvSpPr>
        <p:spPr>
          <a:xfrm>
            <a:off x="2303489" y="4294556"/>
            <a:ext cx="5830230" cy="5334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spc="0" normalizeH="0" baseline="0">
              <a:ln>
                <a:noFill/>
              </a:ln>
              <a:effectLst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0FE28FF-7067-4AD9-92D1-4E89801DB388}"/>
              </a:ext>
            </a:extLst>
          </p:cNvPr>
          <p:cNvSpPr/>
          <p:nvPr/>
        </p:nvSpPr>
        <p:spPr>
          <a:xfrm>
            <a:off x="6889605" y="4269625"/>
            <a:ext cx="1739717" cy="2804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dapters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B05F753-71C9-48E2-8CD7-9AFBA5CB23FD}"/>
              </a:ext>
            </a:extLst>
          </p:cNvPr>
          <p:cNvSpPr/>
          <p:nvPr/>
        </p:nvSpPr>
        <p:spPr>
          <a:xfrm>
            <a:off x="8750502" y="1538130"/>
            <a:ext cx="1948234" cy="2428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rgbClr val="42142E"/>
                </a:solidFill>
                <a:effectLst/>
                <a:uLnTx/>
                <a:uFillTx/>
                <a:latin typeface="Calibri" panose="020F0502020204030204" pitchFamily="34" charset="0"/>
              </a:rPr>
              <a:t>		</a:t>
            </a: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90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rPr>
              <a:t> Gateway MCM Std MaaS </a:t>
            </a:r>
            <a:r>
              <a:rPr kumimoji="0" lang="fr-FR" sz="1100" b="1" i="0" u="none" strike="noStrike" kern="0" cap="none" spc="0" normalizeH="0" baseline="0" noProof="0">
                <a:ln>
                  <a:noFill/>
                </a:ln>
                <a:solidFill>
                  <a:srgbClr val="42142E"/>
                </a:solidFill>
                <a:effectLst/>
                <a:uLnTx/>
                <a:uFillTx/>
                <a:latin typeface="Calibri" panose="020F0502020204030204" pitchFamily="34" charset="0"/>
              </a:rPr>
              <a:t>			</a:t>
            </a:r>
            <a:endParaRPr kumimoji="0" lang="fr-FR" sz="1100" b="1" i="0" u="none" strike="noStrike" kern="0" cap="none" spc="0" normalizeH="0" baseline="0" noProof="0">
              <a:ln>
                <a:noFill/>
              </a:ln>
              <a:solidFill>
                <a:schemeClr val="bg2">
                  <a:lumMod val="90000"/>
                </a:schemeClr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D22F6C9-2CB4-4E5B-B29D-97C925B7E321}"/>
              </a:ext>
            </a:extLst>
          </p:cNvPr>
          <p:cNvSpPr/>
          <p:nvPr/>
        </p:nvSpPr>
        <p:spPr>
          <a:xfrm>
            <a:off x="3368697" y="4417174"/>
            <a:ext cx="1739717" cy="28046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efault-Adapte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A30FEB5-24DE-4E67-96DE-B16AB8D7DE6E}"/>
              </a:ext>
            </a:extLst>
          </p:cNvPr>
          <p:cNvSpPr/>
          <p:nvPr/>
        </p:nvSpPr>
        <p:spPr>
          <a:xfrm>
            <a:off x="5402796" y="4406567"/>
            <a:ext cx="1739717" cy="28046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ap="flat">
            <a:solidFill>
              <a:schemeClr val="accent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ustom-Adapte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50849CB0-D415-4C81-976E-9D5D88FCF91D}"/>
              </a:ext>
            </a:extLst>
          </p:cNvPr>
          <p:cNvCxnSpPr>
            <a:cxnSpLocks/>
            <a:stCxn id="12" idx="2"/>
            <a:endCxn id="109" idx="0"/>
          </p:cNvCxnSpPr>
          <p:nvPr/>
        </p:nvCxnSpPr>
        <p:spPr>
          <a:xfrm>
            <a:off x="5218604" y="1156672"/>
            <a:ext cx="0" cy="62431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" name="Losange 34">
            <a:extLst>
              <a:ext uri="{FF2B5EF4-FFF2-40B4-BE49-F238E27FC236}">
                <a16:creationId xmlns:a16="http://schemas.microsoft.com/office/drawing/2014/main" id="{A46D665C-5B40-4C08-B7CE-8D721DFC42B9}"/>
              </a:ext>
            </a:extLst>
          </p:cNvPr>
          <p:cNvSpPr/>
          <p:nvPr/>
        </p:nvSpPr>
        <p:spPr>
          <a:xfrm>
            <a:off x="5108414" y="3583157"/>
            <a:ext cx="236654" cy="259018"/>
          </a:xfrm>
          <a:prstGeom prst="diamond">
            <a:avLst/>
          </a:prstGeom>
          <a:solidFill>
            <a:srgbClr val="00B0F0"/>
          </a:solidFill>
          <a:ln w="127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2FC4AC55-A091-4F11-B264-EA402FB3CFC5}"/>
              </a:ext>
            </a:extLst>
          </p:cNvPr>
          <p:cNvCxnSpPr>
            <a:cxnSpLocks/>
            <a:stCxn id="82" idx="2"/>
            <a:endCxn id="35" idx="0"/>
          </p:cNvCxnSpPr>
          <p:nvPr/>
        </p:nvCxnSpPr>
        <p:spPr>
          <a:xfrm>
            <a:off x="5218603" y="3420738"/>
            <a:ext cx="8138" cy="162419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4" name="Connecteur : en angle 43">
            <a:extLst>
              <a:ext uri="{FF2B5EF4-FFF2-40B4-BE49-F238E27FC236}">
                <a16:creationId xmlns:a16="http://schemas.microsoft.com/office/drawing/2014/main" id="{81107543-22EE-4393-BD06-B81EC24874CC}"/>
              </a:ext>
            </a:extLst>
          </p:cNvPr>
          <p:cNvCxnSpPr>
            <a:stCxn id="35" idx="2"/>
            <a:endCxn id="50" idx="0"/>
          </p:cNvCxnSpPr>
          <p:nvPr/>
        </p:nvCxnSpPr>
        <p:spPr>
          <a:xfrm rot="16200000" flipH="1">
            <a:off x="5467502" y="3601414"/>
            <a:ext cx="564392" cy="1045914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2" name="Connecteur : en angle 71">
            <a:extLst>
              <a:ext uri="{FF2B5EF4-FFF2-40B4-BE49-F238E27FC236}">
                <a16:creationId xmlns:a16="http://schemas.microsoft.com/office/drawing/2014/main" id="{EA11F631-3C18-4627-AB49-C61AFB464B50}"/>
              </a:ext>
            </a:extLst>
          </p:cNvPr>
          <p:cNvCxnSpPr>
            <a:stCxn id="35" idx="2"/>
            <a:endCxn id="49" idx="0"/>
          </p:cNvCxnSpPr>
          <p:nvPr/>
        </p:nvCxnSpPr>
        <p:spPr>
          <a:xfrm rot="5400000">
            <a:off x="4445150" y="3635582"/>
            <a:ext cx="574999" cy="988185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5" name="Connecteur : en angle 74">
            <a:extLst>
              <a:ext uri="{FF2B5EF4-FFF2-40B4-BE49-F238E27FC236}">
                <a16:creationId xmlns:a16="http://schemas.microsoft.com/office/drawing/2014/main" id="{65A8DDDC-5319-4F3C-98B7-5FC124F09E46}"/>
              </a:ext>
            </a:extLst>
          </p:cNvPr>
          <p:cNvCxnSpPr>
            <a:cxnSpLocks/>
            <a:stCxn id="50" idx="2"/>
            <a:endCxn id="60" idx="0"/>
          </p:cNvCxnSpPr>
          <p:nvPr/>
        </p:nvCxnSpPr>
        <p:spPr>
          <a:xfrm rot="5400000">
            <a:off x="5610543" y="4483336"/>
            <a:ext cx="458414" cy="865811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6" name="Connecteur : en angle 85">
            <a:extLst>
              <a:ext uri="{FF2B5EF4-FFF2-40B4-BE49-F238E27FC236}">
                <a16:creationId xmlns:a16="http://schemas.microsoft.com/office/drawing/2014/main" id="{426FA69F-E433-4A87-818F-C8055876645A}"/>
              </a:ext>
            </a:extLst>
          </p:cNvPr>
          <p:cNvCxnSpPr>
            <a:stCxn id="49" idx="2"/>
            <a:endCxn id="60" idx="0"/>
          </p:cNvCxnSpPr>
          <p:nvPr/>
        </p:nvCxnSpPr>
        <p:spPr>
          <a:xfrm rot="16200000" flipH="1">
            <a:off x="4598797" y="4337400"/>
            <a:ext cx="447807" cy="1168288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30CBFD75-B6AE-486D-AABA-EE8F552CE3E6}"/>
              </a:ext>
            </a:extLst>
          </p:cNvPr>
          <p:cNvSpPr/>
          <p:nvPr/>
        </p:nvSpPr>
        <p:spPr>
          <a:xfrm>
            <a:off x="6994757" y="3058084"/>
            <a:ext cx="1739717" cy="362654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Cache-Manager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45" name="Connecteur : en angle 44">
            <a:extLst>
              <a:ext uri="{FF2B5EF4-FFF2-40B4-BE49-F238E27FC236}">
                <a16:creationId xmlns:a16="http://schemas.microsoft.com/office/drawing/2014/main" id="{5035A93B-9F8F-4DC0-80E9-16864715768E}"/>
              </a:ext>
            </a:extLst>
          </p:cNvPr>
          <p:cNvCxnSpPr>
            <a:cxnSpLocks/>
            <a:stCxn id="97" idx="2"/>
            <a:endCxn id="41" idx="0"/>
          </p:cNvCxnSpPr>
          <p:nvPr/>
        </p:nvCxnSpPr>
        <p:spPr>
          <a:xfrm rot="16200000" flipH="1">
            <a:off x="6357793" y="1551260"/>
            <a:ext cx="367635" cy="2646012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F3ACA1FF-1E5C-4765-BD86-BC08981E72DF}"/>
              </a:ext>
            </a:extLst>
          </p:cNvPr>
          <p:cNvSpPr/>
          <p:nvPr/>
        </p:nvSpPr>
        <p:spPr>
          <a:xfrm>
            <a:off x="9136177" y="3880394"/>
            <a:ext cx="1739717" cy="362654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Dkron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96540798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: Rounded Corners 54">
            <a:extLst>
              <a:ext uri="{FF2B5EF4-FFF2-40B4-BE49-F238E27FC236}">
                <a16:creationId xmlns:a16="http://schemas.microsoft.com/office/drawing/2014/main" id="{BE0B6153-CD28-443D-93F9-EE428134B4DA}"/>
              </a:ext>
            </a:extLst>
          </p:cNvPr>
          <p:cNvSpPr/>
          <p:nvPr/>
        </p:nvSpPr>
        <p:spPr>
          <a:xfrm>
            <a:off x="8793976" y="1953257"/>
            <a:ext cx="1695377" cy="2648440"/>
          </a:xfrm>
          <a:prstGeom prst="roundRect">
            <a:avLst>
              <a:gd name="adj" fmla="val 5465"/>
            </a:avLst>
          </a:prstGeom>
          <a:solidFill>
            <a:srgbClr val="860864"/>
          </a:solidFill>
          <a:ln>
            <a:solidFill>
              <a:srgbClr val="860864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SP</a:t>
            </a:r>
          </a:p>
        </p:txBody>
      </p:sp>
      <p:sp>
        <p:nvSpPr>
          <p:cNvPr id="55" name="Titre 1">
            <a:extLst>
              <a:ext uri="{FF2B5EF4-FFF2-40B4-BE49-F238E27FC236}">
                <a16:creationId xmlns:a16="http://schemas.microsoft.com/office/drawing/2014/main" id="{6823C5FA-70B8-4258-A801-B8CF6DA944F7}"/>
              </a:ext>
            </a:extLst>
          </p:cNvPr>
          <p:cNvSpPr txBox="1">
            <a:spLocks/>
          </p:cNvSpPr>
          <p:nvPr/>
        </p:nvSpPr>
        <p:spPr>
          <a:xfrm>
            <a:off x="407987" y="231884"/>
            <a:ext cx="10081366" cy="1009916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vert="horz" lIns="0" tIns="180000" rIns="0" bIns="0" rtlCol="0" anchor="t">
            <a:noAutofit/>
          </a:bodyPr>
          <a:lstStyle>
            <a:lvl1pPr marL="0" marR="0" indent="0" algn="l" defTabSz="121916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 i="0" u="none" strike="noStrike" cap="none" spc="-40" baseline="0" dirty="0">
                <a:solidFill>
                  <a:srgbClr val="46496A"/>
                </a:solidFill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defRPr>
            </a:lvl1pPr>
            <a:lvl2pPr marL="0" marR="0" indent="228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2pPr>
            <a:lvl3pPr marL="0" marR="0" indent="457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3pPr>
            <a:lvl4pPr marL="0" marR="0" indent="685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4pPr>
            <a:lvl5pPr marL="0" marR="0" indent="9144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5pPr>
            <a:lvl6pPr marL="0" marR="0" indent="11430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6pPr>
            <a:lvl7pPr marL="0" marR="0" indent="1371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7pPr>
            <a:lvl8pPr marL="0" marR="0" indent="1600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8pPr>
            <a:lvl9pPr marL="0" marR="0" indent="1828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9pPr>
          </a:lstStyle>
          <a:p>
            <a:r>
              <a:rPr lang="fr-FR" kern="0" dirty="0"/>
              <a:t>Exigences non fonctionnelles de performance</a:t>
            </a:r>
          </a:p>
        </p:txBody>
      </p:sp>
      <p:sp>
        <p:nvSpPr>
          <p:cNvPr id="70" name="Rectangle: Rounded Corners 54">
            <a:extLst>
              <a:ext uri="{FF2B5EF4-FFF2-40B4-BE49-F238E27FC236}">
                <a16:creationId xmlns:a16="http://schemas.microsoft.com/office/drawing/2014/main" id="{91CFC499-8057-490D-B7F0-63E0FA72B682}"/>
              </a:ext>
            </a:extLst>
          </p:cNvPr>
          <p:cNvSpPr/>
          <p:nvPr/>
        </p:nvSpPr>
        <p:spPr>
          <a:xfrm>
            <a:off x="3952875" y="1953257"/>
            <a:ext cx="4358515" cy="2648440"/>
          </a:xfrm>
          <a:prstGeom prst="roundRect">
            <a:avLst>
              <a:gd name="adj" fmla="val 5465"/>
            </a:avLst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aaS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API Gateway </a:t>
            </a:r>
            <a:r>
              <a:rPr lang="fr-FR" sz="1200" b="1" ker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CM 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td </a:t>
            </a:r>
            <a:r>
              <a:rPr kumimoji="0" lang="fr-FR" sz="12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aaS</a:t>
            </a: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1" name="TextBox 4">
            <a:extLst>
              <a:ext uri="{FF2B5EF4-FFF2-40B4-BE49-F238E27FC236}">
                <a16:creationId xmlns:a16="http://schemas.microsoft.com/office/drawing/2014/main" id="{3080B02B-C95D-4F4B-943E-56E871D654F8}"/>
              </a:ext>
            </a:extLst>
          </p:cNvPr>
          <p:cNvSpPr txBox="1"/>
          <p:nvPr/>
        </p:nvSpPr>
        <p:spPr>
          <a:xfrm>
            <a:off x="1102930" y="3337740"/>
            <a:ext cx="2215671" cy="646331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utillage de te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atewa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Simuler les appels MaaS)</a:t>
            </a:r>
          </a:p>
        </p:txBody>
      </p:sp>
      <p:sp>
        <p:nvSpPr>
          <p:cNvPr id="73" name="Rectangle: Rounded Corners 54">
            <a:extLst>
              <a:ext uri="{FF2B5EF4-FFF2-40B4-BE49-F238E27FC236}">
                <a16:creationId xmlns:a16="http://schemas.microsoft.com/office/drawing/2014/main" id="{F7B46E8B-B8C6-4DFD-8FCA-A1F11D46CC80}"/>
              </a:ext>
            </a:extLst>
          </p:cNvPr>
          <p:cNvSpPr/>
          <p:nvPr/>
        </p:nvSpPr>
        <p:spPr>
          <a:xfrm>
            <a:off x="4166810" y="2500221"/>
            <a:ext cx="752339" cy="1675037"/>
          </a:xfrm>
          <a:prstGeom prst="roundRect">
            <a:avLst>
              <a:gd name="adj" fmla="val 5465"/>
            </a:avLst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P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gmt</a:t>
            </a:r>
          </a:p>
        </p:txBody>
      </p:sp>
      <p:sp>
        <p:nvSpPr>
          <p:cNvPr id="74" name="Rectangle: Rounded Corners 54">
            <a:extLst>
              <a:ext uri="{FF2B5EF4-FFF2-40B4-BE49-F238E27FC236}">
                <a16:creationId xmlns:a16="http://schemas.microsoft.com/office/drawing/2014/main" id="{C610420C-B9AF-4210-AE94-4F94725C8269}"/>
              </a:ext>
            </a:extLst>
          </p:cNvPr>
          <p:cNvSpPr/>
          <p:nvPr/>
        </p:nvSpPr>
        <p:spPr>
          <a:xfrm>
            <a:off x="5393776" y="2559680"/>
            <a:ext cx="1242818" cy="1675037"/>
          </a:xfrm>
          <a:prstGeom prst="roundRect">
            <a:avLst>
              <a:gd name="adj" fmla="val 5465"/>
            </a:avLst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Kub &amp; Containers</a:t>
            </a:r>
          </a:p>
        </p:txBody>
      </p:sp>
      <p:sp>
        <p:nvSpPr>
          <p:cNvPr id="76" name="Rectangle: Rounded Corners 54">
            <a:extLst>
              <a:ext uri="{FF2B5EF4-FFF2-40B4-BE49-F238E27FC236}">
                <a16:creationId xmlns:a16="http://schemas.microsoft.com/office/drawing/2014/main" id="{8C593B75-2237-49CF-90CA-454F0F866197}"/>
              </a:ext>
            </a:extLst>
          </p:cNvPr>
          <p:cNvSpPr/>
          <p:nvPr/>
        </p:nvSpPr>
        <p:spPr>
          <a:xfrm>
            <a:off x="6847191" y="2554886"/>
            <a:ext cx="1242818" cy="370167"/>
          </a:xfrm>
          <a:prstGeom prst="roundRect">
            <a:avLst>
              <a:gd name="adj" fmla="val 5465"/>
            </a:avLst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ache</a:t>
            </a:r>
          </a:p>
        </p:txBody>
      </p:sp>
      <p:sp>
        <p:nvSpPr>
          <p:cNvPr id="77" name="Rectangle: Rounded Corners 54">
            <a:extLst>
              <a:ext uri="{FF2B5EF4-FFF2-40B4-BE49-F238E27FC236}">
                <a16:creationId xmlns:a16="http://schemas.microsoft.com/office/drawing/2014/main" id="{5C55A25F-964B-4D61-B8FC-5575C2A49C1B}"/>
              </a:ext>
            </a:extLst>
          </p:cNvPr>
          <p:cNvSpPr/>
          <p:nvPr/>
        </p:nvSpPr>
        <p:spPr>
          <a:xfrm>
            <a:off x="6847191" y="3498651"/>
            <a:ext cx="1242818" cy="370167"/>
          </a:xfrm>
          <a:prstGeom prst="roundRect">
            <a:avLst>
              <a:gd name="adj" fmla="val 5465"/>
            </a:avLst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atabase</a:t>
            </a:r>
          </a:p>
        </p:txBody>
      </p:sp>
      <p:sp>
        <p:nvSpPr>
          <p:cNvPr id="78" name="Rectangle: Rounded Corners 54">
            <a:extLst>
              <a:ext uri="{FF2B5EF4-FFF2-40B4-BE49-F238E27FC236}">
                <a16:creationId xmlns:a16="http://schemas.microsoft.com/office/drawing/2014/main" id="{C4C593BF-CAF9-4DC4-8CDC-D02A9F2A3735}"/>
              </a:ext>
            </a:extLst>
          </p:cNvPr>
          <p:cNvSpPr/>
          <p:nvPr/>
        </p:nvSpPr>
        <p:spPr>
          <a:xfrm>
            <a:off x="3470206" y="4372363"/>
            <a:ext cx="1846944" cy="468000"/>
          </a:xfrm>
          <a:prstGeom prst="chevron">
            <a:avLst>
              <a:gd name="adj" fmla="val 39034"/>
            </a:avLst>
          </a:prstGeom>
          <a:solidFill>
            <a:srgbClr val="0F999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emps de réponse API</a:t>
            </a:r>
          </a:p>
        </p:txBody>
      </p:sp>
      <p:sp>
        <p:nvSpPr>
          <p:cNvPr id="79" name="Rectangle: Rounded Corners 54">
            <a:extLst>
              <a:ext uri="{FF2B5EF4-FFF2-40B4-BE49-F238E27FC236}">
                <a16:creationId xmlns:a16="http://schemas.microsoft.com/office/drawing/2014/main" id="{D796AEE5-4AF1-4B63-BDBB-E26EE8F529F0}"/>
              </a:ext>
            </a:extLst>
          </p:cNvPr>
          <p:cNvSpPr/>
          <p:nvPr/>
        </p:nvSpPr>
        <p:spPr>
          <a:xfrm>
            <a:off x="5204651" y="4372363"/>
            <a:ext cx="1846943" cy="468000"/>
          </a:xfrm>
          <a:prstGeom prst="chevron">
            <a:avLst>
              <a:gd name="adj" fmla="val 39034"/>
            </a:avLst>
          </a:prstGeom>
          <a:solidFill>
            <a:srgbClr val="0F999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emps de réponse CPU/RAM</a:t>
            </a:r>
          </a:p>
        </p:txBody>
      </p:sp>
      <p:sp>
        <p:nvSpPr>
          <p:cNvPr id="80" name="Rectangle: Rounded Corners 54">
            <a:extLst>
              <a:ext uri="{FF2B5EF4-FFF2-40B4-BE49-F238E27FC236}">
                <a16:creationId xmlns:a16="http://schemas.microsoft.com/office/drawing/2014/main" id="{BEF54514-8EA5-497A-A14A-36A1DA5B0CD7}"/>
              </a:ext>
            </a:extLst>
          </p:cNvPr>
          <p:cNvSpPr/>
          <p:nvPr/>
        </p:nvSpPr>
        <p:spPr>
          <a:xfrm>
            <a:off x="6688126" y="2972698"/>
            <a:ext cx="1623264" cy="313427"/>
          </a:xfrm>
          <a:prstGeom prst="chevron">
            <a:avLst>
              <a:gd name="adj" fmla="val 39034"/>
            </a:avLst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PU/RAM</a:t>
            </a:r>
          </a:p>
        </p:txBody>
      </p:sp>
      <p:sp>
        <p:nvSpPr>
          <p:cNvPr id="81" name="Rectangle: Rounded Corners 54">
            <a:extLst>
              <a:ext uri="{FF2B5EF4-FFF2-40B4-BE49-F238E27FC236}">
                <a16:creationId xmlns:a16="http://schemas.microsoft.com/office/drawing/2014/main" id="{3AD36F48-457A-4406-AE3A-9939C8A44B27}"/>
              </a:ext>
            </a:extLst>
          </p:cNvPr>
          <p:cNvSpPr/>
          <p:nvPr/>
        </p:nvSpPr>
        <p:spPr>
          <a:xfrm>
            <a:off x="6673107" y="3912467"/>
            <a:ext cx="1623264" cy="313427"/>
          </a:xfrm>
          <a:prstGeom prst="chevron">
            <a:avLst>
              <a:gd name="adj" fmla="val 39034"/>
            </a:avLst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PU/RAM</a:t>
            </a:r>
          </a:p>
        </p:txBody>
      </p:sp>
      <p:sp>
        <p:nvSpPr>
          <p:cNvPr id="83" name="Rectangle: Rounded Corners 54">
            <a:extLst>
              <a:ext uri="{FF2B5EF4-FFF2-40B4-BE49-F238E27FC236}">
                <a16:creationId xmlns:a16="http://schemas.microsoft.com/office/drawing/2014/main" id="{C12F146D-6C2F-43DA-BE71-14080DFCE735}"/>
              </a:ext>
            </a:extLst>
          </p:cNvPr>
          <p:cNvSpPr/>
          <p:nvPr/>
        </p:nvSpPr>
        <p:spPr>
          <a:xfrm>
            <a:off x="6938805" y="4367697"/>
            <a:ext cx="1866281" cy="468000"/>
          </a:xfrm>
          <a:prstGeom prst="chevron">
            <a:avLst>
              <a:gd name="adj" fmla="val 39034"/>
            </a:avLst>
          </a:prstGeom>
          <a:solidFill>
            <a:srgbClr val="0F999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emps de réponse</a:t>
            </a:r>
          </a:p>
        </p:txBody>
      </p:sp>
      <p:cxnSp>
        <p:nvCxnSpPr>
          <p:cNvPr id="84" name="Straight Arrow Connector 32">
            <a:extLst>
              <a:ext uri="{FF2B5EF4-FFF2-40B4-BE49-F238E27FC236}">
                <a16:creationId xmlns:a16="http://schemas.microsoft.com/office/drawing/2014/main" id="{C286BF7E-7BB9-4F72-A22C-13BF41D1185B}"/>
              </a:ext>
            </a:extLst>
          </p:cNvPr>
          <p:cNvCxnSpPr>
            <a:cxnSpLocks/>
            <a:stCxn id="71" idx="3"/>
          </p:cNvCxnSpPr>
          <p:nvPr/>
        </p:nvCxnSpPr>
        <p:spPr>
          <a:xfrm flipV="1">
            <a:off x="3318601" y="3654128"/>
            <a:ext cx="894862" cy="6778"/>
          </a:xfrm>
          <a:prstGeom prst="straightConnector1">
            <a:avLst/>
          </a:prstGeom>
          <a:ln w="57150">
            <a:solidFill>
              <a:srgbClr val="2B14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34">
            <a:extLst>
              <a:ext uri="{FF2B5EF4-FFF2-40B4-BE49-F238E27FC236}">
                <a16:creationId xmlns:a16="http://schemas.microsoft.com/office/drawing/2014/main" id="{594A0FB9-C4BC-4106-AB24-C8B5C22D55A9}"/>
              </a:ext>
            </a:extLst>
          </p:cNvPr>
          <p:cNvCxnSpPr>
            <a:cxnSpLocks/>
          </p:cNvCxnSpPr>
          <p:nvPr/>
        </p:nvCxnSpPr>
        <p:spPr>
          <a:xfrm>
            <a:off x="4919149" y="3654127"/>
            <a:ext cx="474627" cy="0"/>
          </a:xfrm>
          <a:prstGeom prst="straightConnector1">
            <a:avLst/>
          </a:prstGeom>
          <a:ln w="57150">
            <a:solidFill>
              <a:srgbClr val="2B14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36">
            <a:extLst>
              <a:ext uri="{FF2B5EF4-FFF2-40B4-BE49-F238E27FC236}">
                <a16:creationId xmlns:a16="http://schemas.microsoft.com/office/drawing/2014/main" id="{FF4E33DE-D325-4272-8E33-7E15E0EBBFF7}"/>
              </a:ext>
            </a:extLst>
          </p:cNvPr>
          <p:cNvCxnSpPr>
            <a:cxnSpLocks/>
            <a:stCxn id="74" idx="3"/>
          </p:cNvCxnSpPr>
          <p:nvPr/>
        </p:nvCxnSpPr>
        <p:spPr>
          <a:xfrm>
            <a:off x="6636594" y="3397199"/>
            <a:ext cx="2168492" cy="3226"/>
          </a:xfrm>
          <a:prstGeom prst="straightConnector1">
            <a:avLst/>
          </a:prstGeom>
          <a:ln w="57150">
            <a:solidFill>
              <a:srgbClr val="2B14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474262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re 1">
            <a:extLst>
              <a:ext uri="{FF2B5EF4-FFF2-40B4-BE49-F238E27FC236}">
                <a16:creationId xmlns:a16="http://schemas.microsoft.com/office/drawing/2014/main" id="{E47BC566-F5FA-4E6F-BFA2-A6CCBA418142}"/>
              </a:ext>
            </a:extLst>
          </p:cNvPr>
          <p:cNvSpPr txBox="1">
            <a:spLocks/>
          </p:cNvSpPr>
          <p:nvPr/>
        </p:nvSpPr>
        <p:spPr>
          <a:xfrm>
            <a:off x="317752" y="273995"/>
            <a:ext cx="10500812" cy="1009916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vert="horz" lIns="0" tIns="180000" rIns="0" bIns="0" rtlCol="0" anchor="t">
            <a:noAutofit/>
          </a:bodyPr>
          <a:lstStyle>
            <a:lvl1pPr marL="0" marR="0" indent="0" algn="l" defTabSz="121916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 i="0" u="none" strike="noStrike" cap="none" spc="-40" baseline="0" dirty="0">
                <a:solidFill>
                  <a:srgbClr val="46496A"/>
                </a:solidFill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defRPr>
            </a:lvl1pPr>
            <a:lvl2pPr marL="0" marR="0" indent="228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2pPr>
            <a:lvl3pPr marL="0" marR="0" indent="457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3pPr>
            <a:lvl4pPr marL="0" marR="0" indent="685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4pPr>
            <a:lvl5pPr marL="0" marR="0" indent="9144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5pPr>
            <a:lvl6pPr marL="0" marR="0" indent="11430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6pPr>
            <a:lvl7pPr marL="0" marR="0" indent="1371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7pPr>
            <a:lvl8pPr marL="0" marR="0" indent="1600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8pPr>
            <a:lvl9pPr marL="0" marR="0" indent="1828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9pPr>
          </a:lstStyle>
          <a:p>
            <a:r>
              <a:rPr lang="fr-FR" kern="0"/>
              <a:t>Pipeline &amp; livraison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260B0A9F-4AC2-49A2-BACF-B4078C54DA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t="415" r="372" b="764"/>
          <a:stretch/>
        </p:blipFill>
        <p:spPr>
          <a:xfrm>
            <a:off x="1722470" y="866693"/>
            <a:ext cx="8534713" cy="559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08337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Snipped 6">
            <a:extLst>
              <a:ext uri="{FF2B5EF4-FFF2-40B4-BE49-F238E27FC236}">
                <a16:creationId xmlns:a16="http://schemas.microsoft.com/office/drawing/2014/main" id="{DCE5F17E-0E1D-441A-B221-FB7023344EB9}"/>
              </a:ext>
            </a:extLst>
          </p:cNvPr>
          <p:cNvSpPr/>
          <p:nvPr/>
        </p:nvSpPr>
        <p:spPr>
          <a:xfrm>
            <a:off x="4062537" y="1763633"/>
            <a:ext cx="797222" cy="393859"/>
          </a:xfrm>
          <a:prstGeom prst="snip1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r>
              <a:rPr lang="fr-FR" sz="1200" b="1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SP Y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C3E00E53-12C3-428F-A9A3-FD981C363993}"/>
              </a:ext>
            </a:extLst>
          </p:cNvPr>
          <p:cNvCxnSpPr>
            <a:cxnSpLocks/>
            <a:endCxn id="7" idx="1"/>
          </p:cNvCxnSpPr>
          <p:nvPr/>
        </p:nvCxnSpPr>
        <p:spPr>
          <a:xfrm rot="16200000" flipV="1">
            <a:off x="4003979" y="2614661"/>
            <a:ext cx="914340" cy="1"/>
          </a:xfrm>
          <a:prstGeom prst="bentConnector3">
            <a:avLst>
              <a:gd name="adj1" fmla="val 50000"/>
            </a:avLst>
          </a:prstGeom>
          <a:noFill/>
          <a:ln w="76200" cap="flat">
            <a:gradFill>
              <a:gsLst>
                <a:gs pos="100000">
                  <a:schemeClr val="accent2"/>
                </a:gs>
                <a:gs pos="0">
                  <a:srgbClr val="00C87A"/>
                </a:gs>
              </a:gsLst>
              <a:lin ang="5400000" scaled="1"/>
            </a:gradFill>
            <a:prstDash val="solid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54CB34D3-B5CB-4B7F-A3CE-FA4D703610ED}"/>
              </a:ext>
            </a:extLst>
          </p:cNvPr>
          <p:cNvSpPr txBox="1"/>
          <p:nvPr/>
        </p:nvSpPr>
        <p:spPr>
          <a:xfrm>
            <a:off x="3610487" y="2355724"/>
            <a:ext cx="1019906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2438338" hangingPunct="0">
              <a:defRPr/>
            </a:pPr>
            <a:r>
              <a:rPr lang="fr-FR" sz="800" b="1">
                <a:solidFill>
                  <a:srgbClr val="5E5E5E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Format Y</a:t>
            </a:r>
          </a:p>
        </p:txBody>
      </p: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582DBF9A-5DAD-4A86-8A18-89A7E6C862CC}"/>
              </a:ext>
            </a:extLst>
          </p:cNvPr>
          <p:cNvCxnSpPr>
            <a:cxnSpLocks/>
            <a:stCxn id="59" idx="0"/>
            <a:endCxn id="52" idx="6"/>
          </p:cNvCxnSpPr>
          <p:nvPr/>
        </p:nvCxnSpPr>
        <p:spPr>
          <a:xfrm rot="16200000" flipV="1">
            <a:off x="3276641" y="3964585"/>
            <a:ext cx="268214" cy="691101"/>
          </a:xfrm>
          <a:prstGeom prst="bentConnector2">
            <a:avLst/>
          </a:prstGeom>
          <a:noFill/>
          <a:ln w="53975" cap="flat">
            <a:solidFill>
              <a:srgbClr val="BFBFBF"/>
            </a:solidFill>
            <a:prstDash val="solid"/>
            <a:miter lim="400000"/>
            <a:headEnd type="triangle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F44F4998-1EE9-46F0-8318-4B8E4634902E}"/>
              </a:ext>
            </a:extLst>
          </p:cNvPr>
          <p:cNvCxnSpPr>
            <a:cxnSpLocks/>
            <a:stCxn id="58" idx="0"/>
            <a:endCxn id="53" idx="2"/>
          </p:cNvCxnSpPr>
          <p:nvPr/>
        </p:nvCxnSpPr>
        <p:spPr>
          <a:xfrm rot="5400000" flipH="1" flipV="1">
            <a:off x="2434421" y="3958430"/>
            <a:ext cx="268105" cy="703520"/>
          </a:xfrm>
          <a:prstGeom prst="bentConnector2">
            <a:avLst/>
          </a:prstGeom>
          <a:noFill/>
          <a:ln w="53975" cap="flat">
            <a:solidFill>
              <a:srgbClr val="BFBFBF"/>
            </a:solidFill>
            <a:prstDash val="solid"/>
            <a:miter lim="400000"/>
            <a:headEnd type="triangle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8" name="Oval 67">
            <a:extLst>
              <a:ext uri="{FF2B5EF4-FFF2-40B4-BE49-F238E27FC236}">
                <a16:creationId xmlns:a16="http://schemas.microsoft.com/office/drawing/2014/main" id="{30A85EDA-92E7-43A8-872C-332B524A0F70}"/>
              </a:ext>
            </a:extLst>
          </p:cNvPr>
          <p:cNvSpPr/>
          <p:nvPr/>
        </p:nvSpPr>
        <p:spPr>
          <a:xfrm>
            <a:off x="2862715" y="4060694"/>
            <a:ext cx="255948" cy="229290"/>
          </a:xfrm>
          <a:prstGeom prst="ellipse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endParaRPr lang="fr-FR" sz="900" b="1">
              <a:solidFill>
                <a:srgbClr val="FFFFFF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947EB77-9B75-47B0-9347-AD60159644FD}"/>
              </a:ext>
            </a:extLst>
          </p:cNvPr>
          <p:cNvSpPr/>
          <p:nvPr/>
        </p:nvSpPr>
        <p:spPr>
          <a:xfrm>
            <a:off x="1121701" y="1697858"/>
            <a:ext cx="2181225" cy="503238"/>
          </a:xfrm>
          <a:prstGeom prst="roundRect">
            <a:avLst/>
          </a:prstGeom>
          <a:solidFill>
            <a:schemeClr val="bg1"/>
          </a:solidFill>
          <a:ln w="12700" cap="flat">
            <a:solidFill>
              <a:schemeClr val="bg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endParaRPr lang="fr-FR" sz="900" b="1">
              <a:solidFill>
                <a:srgbClr val="FFFFFF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C199F0-0E02-45D1-BCF4-711DD53F6B4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025725" y="13245286"/>
            <a:ext cx="152286" cy="210314"/>
          </a:xfrm>
        </p:spPr>
        <p:txBody>
          <a:bodyPr/>
          <a:lstStyle/>
          <a:p>
            <a:pPr>
              <a:defRPr/>
            </a:pPr>
            <a:fld id="{86CB4B4D-7CA3-9044-876B-883B54F8677D}" type="slidenum">
              <a:rPr lang="fr-FR">
                <a:latin typeface="Futura"/>
              </a:rPr>
              <a:pPr>
                <a:defRPr/>
              </a:pPr>
              <a:t>3</a:t>
            </a:fld>
            <a:endParaRPr lang="fr-FR">
              <a:latin typeface="Futura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380C84F-A507-4575-8303-5636AD2AC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10117800" cy="906208"/>
          </a:xfrm>
          <a:ln w="12700">
            <a:miter lim="400000"/>
          </a:ln>
        </p:spPr>
        <p:txBody>
          <a:bodyPr vert="horz" lIns="0" tIns="180000" rIns="0" bIns="0" rtlCol="0" anchor="t">
            <a:noAutofit/>
          </a:bodyPr>
          <a:lstStyle/>
          <a:p>
            <a:r>
              <a:rPr lang="fr-FR">
                <a:latin typeface="Arial" panose="020B0604020202020204" pitchFamily="34" charset="0"/>
              </a:rPr>
              <a:t>La standardisation des </a:t>
            </a:r>
            <a:r>
              <a:rPr lang="fr-FR" err="1">
                <a:latin typeface="Arial" panose="020B0604020202020204" pitchFamily="34" charset="0"/>
              </a:rPr>
              <a:t>MaaS</a:t>
            </a:r>
            <a:r>
              <a:rPr lang="fr-FR">
                <a:latin typeface="Arial" panose="020B0604020202020204" pitchFamily="34" charset="0"/>
              </a:rPr>
              <a:t> sera concrétisée dans le cadre de notre projet par la mise en place d’un Hub, qui préfigure la mise en place de standards, et d’API standardisé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0A0EC24-EF95-4CCF-9E8E-3C7290D8DA48}"/>
              </a:ext>
            </a:extLst>
          </p:cNvPr>
          <p:cNvSpPr/>
          <p:nvPr/>
        </p:nvSpPr>
        <p:spPr>
          <a:xfrm>
            <a:off x="1227922" y="1750088"/>
            <a:ext cx="622942" cy="393859"/>
          </a:xfrm>
          <a:prstGeom prst="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r>
              <a:rPr lang="fr-FR" sz="1200" b="1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SP 1</a:t>
            </a:r>
          </a:p>
        </p:txBody>
      </p:sp>
      <p:sp>
        <p:nvSpPr>
          <p:cNvPr id="6" name="Rectangle: Diagonal Corners Snipped 5">
            <a:extLst>
              <a:ext uri="{FF2B5EF4-FFF2-40B4-BE49-F238E27FC236}">
                <a16:creationId xmlns:a16="http://schemas.microsoft.com/office/drawing/2014/main" id="{F86D2879-4C80-4B65-BFB5-A1CD35FF3EAE}"/>
              </a:ext>
            </a:extLst>
          </p:cNvPr>
          <p:cNvSpPr/>
          <p:nvPr/>
        </p:nvSpPr>
        <p:spPr>
          <a:xfrm>
            <a:off x="3379208" y="1763633"/>
            <a:ext cx="797222" cy="393859"/>
          </a:xfrm>
          <a:prstGeom prst="snip2Diag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r>
              <a:rPr lang="fr-FR" sz="1200" b="1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SP X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F22B53-0CC9-498C-B599-6C8A89E589FC}"/>
              </a:ext>
            </a:extLst>
          </p:cNvPr>
          <p:cNvSpPr/>
          <p:nvPr/>
        </p:nvSpPr>
        <p:spPr>
          <a:xfrm>
            <a:off x="1896542" y="1750088"/>
            <a:ext cx="622942" cy="393859"/>
          </a:xfrm>
          <a:prstGeom prst="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r>
              <a:rPr lang="fr-FR" sz="1200" b="1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SP 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557E4D-CDB8-4414-A347-73116C1AE161}"/>
              </a:ext>
            </a:extLst>
          </p:cNvPr>
          <p:cNvSpPr/>
          <p:nvPr/>
        </p:nvSpPr>
        <p:spPr>
          <a:xfrm>
            <a:off x="2580135" y="1750088"/>
            <a:ext cx="622942" cy="393859"/>
          </a:xfrm>
          <a:prstGeom prst="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r>
              <a:rPr lang="fr-FR" sz="1200" b="1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SP 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B99424-0502-47A1-AE07-6BC5D5C93964}"/>
              </a:ext>
            </a:extLst>
          </p:cNvPr>
          <p:cNvSpPr/>
          <p:nvPr/>
        </p:nvSpPr>
        <p:spPr>
          <a:xfrm>
            <a:off x="5576352" y="1763633"/>
            <a:ext cx="4646953" cy="99500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85725" defTabSz="825500" hangingPunct="0">
              <a:defRPr/>
            </a:pPr>
            <a:r>
              <a:rPr lang="fr-FR" sz="1200">
                <a:solidFill>
                  <a:srgbClr val="D5D5D5">
                    <a:lumMod val="10000"/>
                  </a:srgbClr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Possibilité, dans le cadre de l’expérimentation, de connecter autant des MSP utilisant des </a:t>
            </a:r>
            <a:r>
              <a:rPr lang="fr-FR" sz="1200" b="1">
                <a:solidFill>
                  <a:srgbClr val="D5D5D5">
                    <a:lumMod val="10000"/>
                  </a:srgbClr>
                </a:solidFill>
                <a:highlight>
                  <a:srgbClr val="26FEB1"/>
                </a:highlight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formats standards </a:t>
            </a:r>
            <a:r>
              <a:rPr lang="fr-FR" sz="1200">
                <a:solidFill>
                  <a:srgbClr val="D5D5D5">
                    <a:lumMod val="10000"/>
                  </a:srgbClr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que des MSP utilisant encore des </a:t>
            </a:r>
            <a:r>
              <a:rPr lang="fr-FR" sz="1200" b="1">
                <a:solidFill>
                  <a:srgbClr val="D5D5D5">
                    <a:lumMod val="10000"/>
                  </a:srgbClr>
                </a:solidFill>
                <a:highlight>
                  <a:srgbClr val="26FEB1"/>
                </a:highlight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formats propriétaires </a:t>
            </a:r>
            <a:r>
              <a:rPr lang="fr-FR" sz="1200">
                <a:solidFill>
                  <a:srgbClr val="D5D5D5">
                    <a:lumMod val="10000"/>
                  </a:srgbClr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(selon les enjeux des territoires d’expérimentation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3860F0-B31C-4747-9DE7-1A92A6269BAD}"/>
              </a:ext>
            </a:extLst>
          </p:cNvPr>
          <p:cNvSpPr txBox="1"/>
          <p:nvPr/>
        </p:nvSpPr>
        <p:spPr>
          <a:xfrm>
            <a:off x="1702359" y="1519013"/>
            <a:ext cx="1019906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2438338" hangingPunct="0">
              <a:defRPr/>
            </a:pPr>
            <a:r>
              <a:rPr lang="fr-FR" sz="800" b="1">
                <a:solidFill>
                  <a:srgbClr val="5E5E5E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Formats standar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DA89B8-C2E4-4E75-B900-A5BB05DBC814}"/>
              </a:ext>
            </a:extLst>
          </p:cNvPr>
          <p:cNvSpPr txBox="1"/>
          <p:nvPr/>
        </p:nvSpPr>
        <p:spPr>
          <a:xfrm>
            <a:off x="3502951" y="1502163"/>
            <a:ext cx="1316291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2438338" hangingPunct="0">
              <a:defRPr/>
            </a:pPr>
            <a:r>
              <a:rPr lang="fr-FR" sz="800" b="1">
                <a:solidFill>
                  <a:srgbClr val="5E5E5E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Formats propriétaires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075DBCDF-25FB-4160-BBAB-057C8D03C9A1}"/>
              </a:ext>
            </a:extLst>
          </p:cNvPr>
          <p:cNvCxnSpPr>
            <a:cxnSpLocks/>
            <a:endCxn id="6" idx="1"/>
          </p:cNvCxnSpPr>
          <p:nvPr/>
        </p:nvCxnSpPr>
        <p:spPr>
          <a:xfrm rot="16200000" flipV="1">
            <a:off x="3327787" y="2607523"/>
            <a:ext cx="900066" cy="2"/>
          </a:xfrm>
          <a:prstGeom prst="bentConnector3">
            <a:avLst>
              <a:gd name="adj1" fmla="val 50000"/>
            </a:avLst>
          </a:prstGeom>
          <a:noFill/>
          <a:ln w="76200" cap="flat">
            <a:gradFill>
              <a:gsLst>
                <a:gs pos="100000">
                  <a:schemeClr val="accent1"/>
                </a:gs>
                <a:gs pos="0">
                  <a:srgbClr val="00C87A"/>
                </a:gs>
              </a:gsLst>
              <a:lin ang="5400000" scaled="1"/>
            </a:gradFill>
            <a:prstDash val="solid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858B434F-4DDB-4BE4-A243-45707CEE13B2}"/>
              </a:ext>
            </a:extLst>
          </p:cNvPr>
          <p:cNvCxnSpPr>
            <a:cxnSpLocks/>
            <a:endCxn id="8" idx="2"/>
          </p:cNvCxnSpPr>
          <p:nvPr/>
        </p:nvCxnSpPr>
        <p:spPr>
          <a:xfrm rot="5400000" flipH="1" flipV="1">
            <a:off x="1770842" y="2579185"/>
            <a:ext cx="872409" cy="1935"/>
          </a:xfrm>
          <a:prstGeom prst="bentConnector3">
            <a:avLst>
              <a:gd name="adj1" fmla="val 50000"/>
            </a:avLst>
          </a:prstGeom>
          <a:noFill/>
          <a:ln w="76200" cap="flat">
            <a:solidFill>
              <a:srgbClr val="FFC000"/>
            </a:solidFill>
            <a:prstDash val="solid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54B9A292-371A-4772-9EB5-ABF68EC3B34B}"/>
              </a:ext>
            </a:extLst>
          </p:cNvPr>
          <p:cNvCxnSpPr>
            <a:cxnSpLocks/>
            <a:endCxn id="9" idx="2"/>
          </p:cNvCxnSpPr>
          <p:nvPr/>
        </p:nvCxnSpPr>
        <p:spPr>
          <a:xfrm rot="5400000" flipH="1" flipV="1">
            <a:off x="2115277" y="2228231"/>
            <a:ext cx="860612" cy="692045"/>
          </a:xfrm>
          <a:prstGeom prst="bentConnector3">
            <a:avLst>
              <a:gd name="adj1" fmla="val 47786"/>
            </a:avLst>
          </a:prstGeom>
          <a:noFill/>
          <a:ln w="76200" cap="flat">
            <a:solidFill>
              <a:srgbClr val="FFC000"/>
            </a:solidFill>
            <a:prstDash val="solid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288F8654-EC8E-4693-8F5B-DEB0686C06A3}"/>
              </a:ext>
            </a:extLst>
          </p:cNvPr>
          <p:cNvCxnSpPr>
            <a:cxnSpLocks/>
            <a:endCxn id="5" idx="2"/>
          </p:cNvCxnSpPr>
          <p:nvPr/>
        </p:nvCxnSpPr>
        <p:spPr>
          <a:xfrm rot="16200000" flipV="1">
            <a:off x="1428463" y="2254876"/>
            <a:ext cx="890480" cy="668620"/>
          </a:xfrm>
          <a:prstGeom prst="bentConnector3">
            <a:avLst>
              <a:gd name="adj1" fmla="val 50000"/>
            </a:avLst>
          </a:prstGeom>
          <a:noFill/>
          <a:ln w="76200" cap="flat">
            <a:solidFill>
              <a:srgbClr val="FFC000"/>
            </a:solidFill>
            <a:prstDash val="solid"/>
            <a:miter lim="400000"/>
            <a:headEnd type="triangle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34F41866-350E-4BDD-AEA1-264D29E6AE00}"/>
              </a:ext>
            </a:extLst>
          </p:cNvPr>
          <p:cNvSpPr txBox="1"/>
          <p:nvPr/>
        </p:nvSpPr>
        <p:spPr>
          <a:xfrm>
            <a:off x="1696125" y="2347742"/>
            <a:ext cx="1019906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2438338" hangingPunct="0">
              <a:defRPr/>
            </a:pPr>
            <a:r>
              <a:rPr lang="fr-FR" sz="800" b="1">
                <a:solidFill>
                  <a:srgbClr val="5E5E5E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Formats standard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A7CEAC6-4995-49C6-8BB7-4BBFB6F57790}"/>
              </a:ext>
            </a:extLst>
          </p:cNvPr>
          <p:cNvSpPr txBox="1"/>
          <p:nvPr/>
        </p:nvSpPr>
        <p:spPr>
          <a:xfrm>
            <a:off x="2944735" y="2361490"/>
            <a:ext cx="1019906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2438338" hangingPunct="0">
              <a:defRPr/>
            </a:pPr>
            <a:r>
              <a:rPr lang="fr-FR" sz="800" b="1">
                <a:solidFill>
                  <a:srgbClr val="5E5E5E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Format X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16925E0-E5B5-43DC-8861-31DF92864EA1}"/>
              </a:ext>
            </a:extLst>
          </p:cNvPr>
          <p:cNvSpPr/>
          <p:nvPr/>
        </p:nvSpPr>
        <p:spPr>
          <a:xfrm>
            <a:off x="5576352" y="3011729"/>
            <a:ext cx="4646953" cy="99500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85725" defTabSz="825500" hangingPunct="0">
              <a:defRPr/>
            </a:pPr>
            <a:r>
              <a:rPr lang="fr-FR" sz="1200" b="1">
                <a:solidFill>
                  <a:srgbClr val="D5D5D5">
                    <a:lumMod val="10000"/>
                  </a:srgbClr>
                </a:solidFill>
                <a:highlight>
                  <a:srgbClr val="26FEB1"/>
                </a:highlight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Adaptation / transformation </a:t>
            </a:r>
            <a:r>
              <a:rPr lang="fr-FR" sz="1200">
                <a:solidFill>
                  <a:srgbClr val="D5D5D5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par le HUB des données et services des MSP pour permettre un échange de données entre MSP </a:t>
            </a:r>
            <a:r>
              <a:rPr lang="fr-FR" sz="1200">
                <a:solidFill>
                  <a:srgbClr val="D5D5D5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 </a:t>
            </a:r>
            <a:r>
              <a:rPr lang="fr-FR" sz="1200" err="1">
                <a:solidFill>
                  <a:srgbClr val="D5D5D5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aaS</a:t>
            </a:r>
            <a:endParaRPr lang="fr-FR" sz="1200">
              <a:solidFill>
                <a:srgbClr val="D5D5D5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2" name="Flowchart: Connector 51">
            <a:extLst>
              <a:ext uri="{FF2B5EF4-FFF2-40B4-BE49-F238E27FC236}">
                <a16:creationId xmlns:a16="http://schemas.microsoft.com/office/drawing/2014/main" id="{ABB30472-A25D-4902-A0A9-C0C4D6E377B8}"/>
              </a:ext>
            </a:extLst>
          </p:cNvPr>
          <p:cNvSpPr/>
          <p:nvPr/>
        </p:nvSpPr>
        <p:spPr>
          <a:xfrm>
            <a:off x="2905655" y="4096257"/>
            <a:ext cx="159542" cy="159542"/>
          </a:xfrm>
          <a:prstGeom prst="flowChartConnector">
            <a:avLst/>
          </a:prstGeom>
          <a:solidFill>
            <a:srgbClr val="00C8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endParaRPr lang="fr-FR" sz="900" b="1">
              <a:solidFill>
                <a:srgbClr val="FFFFFF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3" name="Flowchart: Connector 52">
            <a:extLst>
              <a:ext uri="{FF2B5EF4-FFF2-40B4-BE49-F238E27FC236}">
                <a16:creationId xmlns:a16="http://schemas.microsoft.com/office/drawing/2014/main" id="{68D50E3D-BA46-44F9-AF4E-EB917301A689}"/>
              </a:ext>
            </a:extLst>
          </p:cNvPr>
          <p:cNvSpPr/>
          <p:nvPr/>
        </p:nvSpPr>
        <p:spPr>
          <a:xfrm>
            <a:off x="2920232" y="4110529"/>
            <a:ext cx="131216" cy="131216"/>
          </a:xfrm>
          <a:prstGeom prst="flowChartConnector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endParaRPr lang="fr-FR" sz="900" b="1">
              <a:solidFill>
                <a:srgbClr val="FFFFFF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760ACD3-6DB9-4FDC-AA91-ACF01DC93571}"/>
              </a:ext>
            </a:extLst>
          </p:cNvPr>
          <p:cNvCxnSpPr>
            <a:cxnSpLocks/>
          </p:cNvCxnSpPr>
          <p:nvPr/>
        </p:nvCxnSpPr>
        <p:spPr>
          <a:xfrm>
            <a:off x="2983459" y="3892333"/>
            <a:ext cx="0" cy="280450"/>
          </a:xfrm>
          <a:prstGeom prst="straightConnector1">
            <a:avLst/>
          </a:prstGeom>
          <a:noFill/>
          <a:ln w="25400" cap="flat">
            <a:solidFill>
              <a:schemeClr val="accent5"/>
            </a:solidFill>
            <a:prstDash val="solid"/>
            <a:miter lim="400000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AD6F88CC-4B39-4F58-B201-FE28E1841E6F}"/>
              </a:ext>
            </a:extLst>
          </p:cNvPr>
          <p:cNvSpPr/>
          <p:nvPr/>
        </p:nvSpPr>
        <p:spPr>
          <a:xfrm>
            <a:off x="1511862" y="4444243"/>
            <a:ext cx="1409700" cy="393859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r>
              <a:rPr lang="fr-FR" sz="1200" b="1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aaS 1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A677687-71DE-4FA8-A239-3E90DF1222A0}"/>
              </a:ext>
            </a:extLst>
          </p:cNvPr>
          <p:cNvSpPr/>
          <p:nvPr/>
        </p:nvSpPr>
        <p:spPr>
          <a:xfrm>
            <a:off x="3051448" y="4444243"/>
            <a:ext cx="1409700" cy="393859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>
              <a:defRPr/>
            </a:pPr>
            <a:r>
              <a:rPr lang="fr-FR" sz="1200" b="1" err="1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MaaS</a:t>
            </a:r>
            <a:r>
              <a:rPr lang="fr-FR" sz="1200" b="1">
                <a:solidFill>
                  <a:srgbClr val="FFFF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 2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991DC21-8F7E-45CB-B3BF-387330306184}"/>
              </a:ext>
            </a:extLst>
          </p:cNvPr>
          <p:cNvSpPr/>
          <p:nvPr/>
        </p:nvSpPr>
        <p:spPr>
          <a:xfrm>
            <a:off x="5567093" y="4269596"/>
            <a:ext cx="4656211" cy="99500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85725" defTabSz="825500" hangingPunct="0">
              <a:defRPr/>
            </a:pPr>
            <a:r>
              <a:rPr lang="fr-FR" sz="1200" b="1">
                <a:solidFill>
                  <a:srgbClr val="D5D5D5">
                    <a:lumMod val="10000"/>
                  </a:srgbClr>
                </a:solidFill>
                <a:highlight>
                  <a:srgbClr val="26FEB1"/>
                </a:highlight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Requêtes utilisateurs </a:t>
            </a:r>
            <a:r>
              <a:rPr lang="fr-FR" sz="1200">
                <a:solidFill>
                  <a:srgbClr val="D5D5D5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via les MaaS disposant des données provenant de divers MSPs (avec les </a:t>
            </a:r>
            <a:r>
              <a:rPr lang="fr-FR" sz="1200" b="1">
                <a:solidFill>
                  <a:srgbClr val="D5D5D5">
                    <a:lumMod val="10000"/>
                  </a:srgbClr>
                </a:solidFill>
                <a:highlight>
                  <a:srgbClr val="26FEB1"/>
                </a:highlight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fonctionnalités enrichies des MaaS</a:t>
            </a:r>
            <a:r>
              <a:rPr lang="fr-FR" sz="1200">
                <a:solidFill>
                  <a:srgbClr val="D5D5D5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rPr>
              <a:t>)</a:t>
            </a:r>
          </a:p>
        </p:txBody>
      </p:sp>
      <p:sp>
        <p:nvSpPr>
          <p:cNvPr id="64" name="TextBox 48">
            <a:extLst>
              <a:ext uri="{FF2B5EF4-FFF2-40B4-BE49-F238E27FC236}">
                <a16:creationId xmlns:a16="http://schemas.microsoft.com/office/drawing/2014/main" id="{CA3C1552-6380-45A3-9153-943D421F9D47}"/>
              </a:ext>
            </a:extLst>
          </p:cNvPr>
          <p:cNvSpPr txBox="1"/>
          <p:nvPr/>
        </p:nvSpPr>
        <p:spPr>
          <a:xfrm>
            <a:off x="2247435" y="4225133"/>
            <a:ext cx="943430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2438338" hangingPunct="0">
              <a:defRPr/>
            </a:pPr>
            <a:r>
              <a:rPr lang="fr-FR" sz="800" b="1">
                <a:solidFill>
                  <a:srgbClr val="5E5E5E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Format standard </a:t>
            </a:r>
          </a:p>
        </p:txBody>
      </p:sp>
      <p:sp>
        <p:nvSpPr>
          <p:cNvPr id="66" name="Rectangle: Rounded Corners 35">
            <a:extLst>
              <a:ext uri="{FF2B5EF4-FFF2-40B4-BE49-F238E27FC236}">
                <a16:creationId xmlns:a16="http://schemas.microsoft.com/office/drawing/2014/main" id="{881879D0-CDC1-4E16-9F99-ADBB1F02B3CC}"/>
              </a:ext>
            </a:extLst>
          </p:cNvPr>
          <p:cNvSpPr/>
          <p:nvPr/>
        </p:nvSpPr>
        <p:spPr>
          <a:xfrm>
            <a:off x="1121701" y="3029900"/>
            <a:ext cx="3697540" cy="900066"/>
          </a:xfrm>
          <a:prstGeom prst="rect">
            <a:avLst/>
          </a:prstGeom>
          <a:solidFill>
            <a:srgbClr val="01BF7D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spcAft>
                <a:spcPts val="600"/>
              </a:spcAft>
            </a:pPr>
            <a:r>
              <a:rPr lang="fr-FR" b="1">
                <a:solidFill>
                  <a:srgbClr val="FFFFFF"/>
                </a:solidFill>
                <a:latin typeface="Corbel" panose="020B0503020204020204" pitchFamily="34" charset="0"/>
                <a:cs typeface="Arial"/>
                <a:sym typeface="Arial"/>
              </a:rPr>
              <a:t>HUB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E2F8065-00CA-457D-BFBA-E455C7E29153}"/>
              </a:ext>
            </a:extLst>
          </p:cNvPr>
          <p:cNvGrpSpPr/>
          <p:nvPr/>
        </p:nvGrpSpPr>
        <p:grpSpPr>
          <a:xfrm>
            <a:off x="1400565" y="3376739"/>
            <a:ext cx="3139812" cy="464003"/>
            <a:chOff x="749821" y="2961523"/>
            <a:chExt cx="2437262" cy="464003"/>
          </a:xfrm>
        </p:grpSpPr>
        <p:sp>
          <p:nvSpPr>
            <p:cNvPr id="67" name="Rectangle: Rounded Corners 36">
              <a:extLst>
                <a:ext uri="{FF2B5EF4-FFF2-40B4-BE49-F238E27FC236}">
                  <a16:creationId xmlns:a16="http://schemas.microsoft.com/office/drawing/2014/main" id="{1AB51872-FF99-49B4-AEEF-D791E8B09A86}"/>
                </a:ext>
              </a:extLst>
            </p:cNvPr>
            <p:cNvSpPr/>
            <p:nvPr/>
          </p:nvSpPr>
          <p:spPr>
            <a:xfrm>
              <a:off x="1998363" y="2961523"/>
              <a:ext cx="1188720" cy="457200"/>
            </a:xfrm>
            <a:prstGeom prst="round2SameRect">
              <a:avLst/>
            </a:prstGeom>
            <a:solidFill>
              <a:schemeClr val="accent2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 anchorCtr="0">
              <a:noAutofit/>
            </a:bodyPr>
            <a:lstStyle/>
            <a:p>
              <a:pPr algn="ctr" defTabSz="412750" hangingPunct="0"/>
              <a:r>
                <a:rPr lang="fr-FR" sz="1000" b="1" kern="0">
                  <a:solidFill>
                    <a:srgbClr val="FFFFFF"/>
                  </a:solidFill>
                  <a:latin typeface="Corbel" panose="020B0503020204020204" pitchFamily="34" charset="0"/>
                  <a:cs typeface="Arial" panose="020B0604020202020204" pitchFamily="34" charset="0"/>
                  <a:sym typeface="Jost Medium"/>
                </a:rPr>
                <a:t>COMPTE MOBILITE STANDARD</a:t>
              </a:r>
            </a:p>
          </p:txBody>
        </p:sp>
        <p:sp>
          <p:nvSpPr>
            <p:cNvPr id="73" name="Rectangle: Rounded Corners 36">
              <a:extLst>
                <a:ext uri="{FF2B5EF4-FFF2-40B4-BE49-F238E27FC236}">
                  <a16:creationId xmlns:a16="http://schemas.microsoft.com/office/drawing/2014/main" id="{B02AA460-F24A-48DD-A166-CFE87189C33C}"/>
                </a:ext>
              </a:extLst>
            </p:cNvPr>
            <p:cNvSpPr/>
            <p:nvPr/>
          </p:nvSpPr>
          <p:spPr>
            <a:xfrm>
              <a:off x="749821" y="2968326"/>
              <a:ext cx="1188720" cy="457200"/>
            </a:xfrm>
            <a:prstGeom prst="round2SameRect">
              <a:avLst/>
            </a:prstGeom>
            <a:solidFill>
              <a:schemeClr val="accent2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 anchorCtr="0">
              <a:noAutofit/>
            </a:bodyPr>
            <a:lstStyle/>
            <a:p>
              <a:pPr algn="ctr" defTabSz="412750" hangingPunct="0">
                <a:defRPr/>
              </a:pPr>
              <a:r>
                <a:rPr lang="fr-FR" sz="1000" b="1" kern="0">
                  <a:solidFill>
                    <a:srgbClr val="FFFFFF"/>
                  </a:solidFill>
                  <a:latin typeface="Corbel" panose="020B0503020204020204" pitchFamily="34" charset="0"/>
                  <a:ea typeface="Jost Medium"/>
                  <a:cs typeface="Arial" panose="020B0604020202020204" pitchFamily="34" charset="0"/>
                  <a:sym typeface="Jost Medium"/>
                </a:rPr>
                <a:t>GATEWAY</a:t>
              </a:r>
            </a:p>
            <a:p>
              <a:pPr algn="ctr" defTabSz="412750" hangingPunct="0">
                <a:defRPr/>
              </a:pPr>
              <a:r>
                <a:rPr lang="fr-FR" sz="1000" b="1" kern="0">
                  <a:solidFill>
                    <a:srgbClr val="FFFFFF"/>
                  </a:solidFill>
                  <a:latin typeface="Corbel" panose="020B0503020204020204" pitchFamily="34" charset="0"/>
                  <a:ea typeface="Jost Medium"/>
                  <a:cs typeface="Arial" panose="020B0604020202020204" pitchFamily="34" charset="0"/>
                  <a:sym typeface="Jost Medium"/>
                </a:rPr>
                <a:t>(Adaptateurs MSP)</a:t>
              </a: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0AE563E2-1DFE-47A8-9F73-44C5153D60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372" y="5168503"/>
            <a:ext cx="304800" cy="3048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0434DD0-E30C-486C-8926-D0D62C909D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3898" y="5168503"/>
            <a:ext cx="304800" cy="304800"/>
          </a:xfrm>
          <a:prstGeom prst="rect">
            <a:avLst/>
          </a:prstGeom>
        </p:spPr>
      </p:pic>
      <p:sp>
        <p:nvSpPr>
          <p:cNvPr id="24" name="Arrow: Up-Down 23">
            <a:extLst>
              <a:ext uri="{FF2B5EF4-FFF2-40B4-BE49-F238E27FC236}">
                <a16:creationId xmlns:a16="http://schemas.microsoft.com/office/drawing/2014/main" id="{5EB3B138-68F3-4319-A1D5-F569B485DF66}"/>
              </a:ext>
            </a:extLst>
          </p:cNvPr>
          <p:cNvSpPr/>
          <p:nvPr/>
        </p:nvSpPr>
        <p:spPr>
          <a:xfrm>
            <a:off x="3668375" y="4897905"/>
            <a:ext cx="175847" cy="253402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b="1">
              <a:solidFill>
                <a:srgbClr val="FFFFFF"/>
              </a:solidFill>
              <a:latin typeface="Corbel" panose="020B0503020204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5" name="Arrow: Up-Down 54">
            <a:extLst>
              <a:ext uri="{FF2B5EF4-FFF2-40B4-BE49-F238E27FC236}">
                <a16:creationId xmlns:a16="http://schemas.microsoft.com/office/drawing/2014/main" id="{557552E0-2ED1-4698-8738-85B7E23F8037}"/>
              </a:ext>
            </a:extLst>
          </p:cNvPr>
          <p:cNvSpPr/>
          <p:nvPr/>
        </p:nvSpPr>
        <p:spPr>
          <a:xfrm>
            <a:off x="2123849" y="4897905"/>
            <a:ext cx="175847" cy="253402"/>
          </a:xfrm>
          <a:prstGeom prst="upDownArrow">
            <a:avLst/>
          </a:pr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b="1">
              <a:solidFill>
                <a:srgbClr val="FFFFFF"/>
              </a:solidFill>
              <a:latin typeface="Corbel" panose="020B0503020204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E28B215-F851-4CEE-A660-6F9E98E2A576}"/>
              </a:ext>
            </a:extLst>
          </p:cNvPr>
          <p:cNvGrpSpPr/>
          <p:nvPr/>
        </p:nvGrpSpPr>
        <p:grpSpPr>
          <a:xfrm>
            <a:off x="5407993" y="1763632"/>
            <a:ext cx="96758" cy="3500964"/>
            <a:chOff x="4836493" y="1526240"/>
            <a:chExt cx="96758" cy="3725085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5B802C0-CAFD-4F21-B79F-500BF4A624BB}"/>
                </a:ext>
              </a:extLst>
            </p:cNvPr>
            <p:cNvSpPr/>
            <p:nvPr/>
          </p:nvSpPr>
          <p:spPr>
            <a:xfrm>
              <a:off x="4836493" y="1526240"/>
              <a:ext cx="96758" cy="10586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ctr" defTabSz="825500" hangingPunct="0"/>
              <a:endParaRPr lang="fr-FR" b="1">
                <a:solidFill>
                  <a:srgbClr val="FFFFFF"/>
                </a:solidFill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4BEAC407-99CC-4326-A7A1-A4F2B6C5AFCF}"/>
                </a:ext>
              </a:extLst>
            </p:cNvPr>
            <p:cNvSpPr/>
            <p:nvPr/>
          </p:nvSpPr>
          <p:spPr>
            <a:xfrm>
              <a:off x="4836493" y="2859434"/>
              <a:ext cx="96758" cy="1058698"/>
            </a:xfrm>
            <a:prstGeom prst="rect">
              <a:avLst/>
            </a:prstGeom>
            <a:solidFill>
              <a:srgbClr val="00C87A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ctr" defTabSz="825500" hangingPunct="0"/>
              <a:endParaRPr lang="fr-FR" b="1">
                <a:solidFill>
                  <a:srgbClr val="FFFFFF"/>
                </a:solidFill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7E2C3B30-F842-4349-B157-4A7D00068BB4}"/>
                </a:ext>
              </a:extLst>
            </p:cNvPr>
            <p:cNvSpPr/>
            <p:nvPr/>
          </p:nvSpPr>
          <p:spPr>
            <a:xfrm>
              <a:off x="4836493" y="4192627"/>
              <a:ext cx="96758" cy="105869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ctr" defTabSz="825500" hangingPunct="0"/>
              <a:endParaRPr lang="fr-FR" b="1">
                <a:solidFill>
                  <a:srgbClr val="FFFFFF"/>
                </a:solidFill>
                <a:latin typeface="Corbel" panose="020B0503020204020204" pitchFamily="34" charset="0"/>
                <a:ea typeface="Jost Medium"/>
                <a:cs typeface="Arial" panose="020B0604020202020204" pitchFamily="34" charset="0"/>
                <a:sym typeface="Jost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400287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35">
            <a:extLst>
              <a:ext uri="{FF2B5EF4-FFF2-40B4-BE49-F238E27FC236}">
                <a16:creationId xmlns:a16="http://schemas.microsoft.com/office/drawing/2014/main" id="{6D73B40A-7C3C-4FDC-8849-30E114A5AB2A}"/>
              </a:ext>
            </a:extLst>
          </p:cNvPr>
          <p:cNvSpPr/>
          <p:nvPr/>
        </p:nvSpPr>
        <p:spPr>
          <a:xfrm>
            <a:off x="550199" y="1137921"/>
            <a:ext cx="11091601" cy="4950061"/>
          </a:xfrm>
          <a:prstGeom prst="rect">
            <a:avLst/>
          </a:prstGeom>
          <a:solidFill>
            <a:srgbClr val="01BF7D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spcAft>
                <a:spcPts val="600"/>
              </a:spcAft>
            </a:pPr>
            <a:r>
              <a:rPr lang="fr-FR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UB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CE859A-7AA9-4D9C-91C5-5542A6EEDFB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025725" y="13245286"/>
            <a:ext cx="152286" cy="210314"/>
          </a:xfrm>
        </p:spPr>
        <p:txBody>
          <a:bodyPr/>
          <a:lstStyle/>
          <a:p>
            <a:fld id="{86CB4B4D-7CA3-9044-876B-883B54F8677D}" type="slidenum">
              <a:rPr lang="fr-FR">
                <a:latin typeface="Futura"/>
              </a:rPr>
              <a:pPr/>
              <a:t>4</a:t>
            </a:fld>
            <a:endParaRPr lang="fr-FR">
              <a:latin typeface="Futura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8E1901-1ACE-4EBE-856E-26243B553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199" y="231712"/>
            <a:ext cx="10325886" cy="906208"/>
          </a:xfrm>
          <a:ln w="12700">
            <a:miter lim="400000"/>
          </a:ln>
        </p:spPr>
        <p:txBody>
          <a:bodyPr vert="horz" lIns="0" tIns="180000" rIns="0" bIns="0" rtlCol="0" anchor="t">
            <a:noAutofit/>
          </a:bodyPr>
          <a:lstStyle/>
          <a:p>
            <a:r>
              <a:rPr lang="fr-FR" dirty="0">
                <a:latin typeface="Arial" panose="020B0604020202020204" pitchFamily="34" charset="0"/>
              </a:rPr>
              <a:t>Les fonctionnalités du HUB ont été définies et priorisées selon les besoins de l’écosystème et les enjeux spécifiques des partenaires pressentis pour l’expérimen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183DB2-98E7-42A0-AA46-75D698B01626}"/>
              </a:ext>
            </a:extLst>
          </p:cNvPr>
          <p:cNvSpPr txBox="1"/>
          <p:nvPr/>
        </p:nvSpPr>
        <p:spPr>
          <a:xfrm>
            <a:off x="8915399" y="1980297"/>
            <a:ext cx="2593733" cy="3295315"/>
          </a:xfrm>
          <a:prstGeom prst="rect">
            <a:avLst/>
          </a:prstGeom>
          <a:solidFill>
            <a:srgbClr val="F2F2F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tIns="91440">
            <a:noAutofit/>
          </a:bodyPr>
          <a:lstStyle/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uthentification avec France </a:t>
            </a:r>
            <a:r>
              <a:rPr lang="fr-FR" sz="1050" err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nect</a:t>
            </a:r>
            <a:endParaRPr lang="fr-FR" sz="105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ertification de l'identité avec France </a:t>
            </a:r>
            <a:r>
              <a:rPr lang="fr-FR" sz="1050" err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nect</a:t>
            </a:r>
            <a:endParaRPr lang="fr-FR" sz="105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nexions avec le compte MOB aux MaaS et </a:t>
            </a:r>
            <a:r>
              <a:rPr lang="fr-FR" sz="1050" err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SPs</a:t>
            </a: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partenaires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ockage et mise à disposition des données usagers et des préférences de voyage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ockage et mise à disposition des pièces justificatives du citoyen aux MaaS et </a:t>
            </a:r>
            <a:r>
              <a:rPr lang="fr-FR" sz="1050" err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SPs</a:t>
            </a:r>
            <a:endParaRPr lang="fr-FR" sz="105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ructure du compte mobilité standardisé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A41565-FE17-4649-A2E0-385EE4F3B373}"/>
              </a:ext>
            </a:extLst>
          </p:cNvPr>
          <p:cNvSpPr/>
          <p:nvPr/>
        </p:nvSpPr>
        <p:spPr>
          <a:xfrm>
            <a:off x="682866" y="1980298"/>
            <a:ext cx="8099864" cy="204534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noAutofit/>
          </a:bodyPr>
          <a:lstStyle/>
          <a:p>
            <a:pPr algn="ctr" defTabSz="825500" hangingPunct="0"/>
            <a:r>
              <a:rPr lang="fr-FR" sz="1050" b="1">
                <a:solidFill>
                  <a:srgbClr val="00A2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Blocs fonctionnels par mode de transpor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5B9D58-25CD-45CD-8377-75405B83FD64}"/>
              </a:ext>
            </a:extLst>
          </p:cNvPr>
          <p:cNvSpPr/>
          <p:nvPr/>
        </p:nvSpPr>
        <p:spPr>
          <a:xfrm>
            <a:off x="682864" y="5330710"/>
            <a:ext cx="10826267" cy="62141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noAutofit/>
          </a:bodyPr>
          <a:lstStyle/>
          <a:p>
            <a:pPr algn="ctr" defTabSz="825500" hangingPunct="0"/>
            <a:r>
              <a:rPr lang="fr-FR" sz="1050" b="1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Glob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E1DF46-F5D5-461D-9F4F-98A6ECEA1DF9}"/>
              </a:ext>
            </a:extLst>
          </p:cNvPr>
          <p:cNvSpPr txBox="1"/>
          <p:nvPr/>
        </p:nvSpPr>
        <p:spPr>
          <a:xfrm>
            <a:off x="682864" y="5554241"/>
            <a:ext cx="10826267" cy="4024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numCol="4" anchor="ctr">
            <a:no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formité RGPD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ublication </a:t>
            </a:r>
            <a:r>
              <a:rPr lang="fr-FR" sz="1050" err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Opensource</a:t>
            </a:r>
            <a:endParaRPr lang="fr-FR" sz="105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udit du code et de l’infrastructur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nvironnements techniques</a:t>
            </a:r>
          </a:p>
        </p:txBody>
      </p:sp>
      <p:graphicFrame>
        <p:nvGraphicFramePr>
          <p:cNvPr id="19" name="Tableau 2">
            <a:extLst>
              <a:ext uri="{FF2B5EF4-FFF2-40B4-BE49-F238E27FC236}">
                <a16:creationId xmlns:a16="http://schemas.microsoft.com/office/drawing/2014/main" id="{6A3A5FB0-0FEC-46FC-AD5A-687E9DF899D8}"/>
              </a:ext>
            </a:extLst>
          </p:cNvPr>
          <p:cNvGraphicFramePr>
            <a:graphicFrameLocks noGrp="1"/>
          </p:cNvGraphicFramePr>
          <p:nvPr/>
        </p:nvGraphicFramePr>
        <p:xfrm>
          <a:off x="773724" y="2277564"/>
          <a:ext cx="7886703" cy="16718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4583">
                  <a:extLst>
                    <a:ext uri="{9D8B030D-6E8A-4147-A177-3AD203B41FA5}">
                      <a16:colId xmlns:a16="http://schemas.microsoft.com/office/drawing/2014/main" val="911484497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570102566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2601797515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3425659141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2437260493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66612156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1792896411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1047674517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3636856221"/>
                    </a:ext>
                  </a:extLst>
                </a:gridCol>
              </a:tblGrid>
              <a:tr h="353882">
                <a:tc>
                  <a:txBody>
                    <a:bodyPr/>
                    <a:lstStyle/>
                    <a:p>
                      <a:endParaRPr lang="fr-FR" sz="900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/>
                        <a:t>TC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/>
                        <a:t>Co- voiturage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/>
                        <a:t>Stationnement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/>
                        <a:t>Recharge VE</a:t>
                      </a:r>
                      <a:endParaRPr lang="fr-FR" sz="1400"/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/>
                        <a:t>VLS 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err="1"/>
                        <a:t>Auto-partage</a:t>
                      </a:r>
                      <a:endParaRPr lang="fr-FR" sz="900"/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/>
                        <a:t>Free-</a:t>
                      </a:r>
                      <a:r>
                        <a:rPr lang="fr-FR" sz="900" err="1"/>
                        <a:t>floating</a:t>
                      </a:r>
                      <a:endParaRPr lang="fr-FR" sz="900"/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/>
                        <a:t>Taxi / VTC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538476"/>
                  </a:ext>
                </a:extLst>
              </a:tr>
              <a:tr h="292922"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1">
                          <a:solidFill>
                            <a:schemeClr val="bg1"/>
                          </a:solidFill>
                        </a:rPr>
                        <a:t>IV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400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400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400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400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593763"/>
                  </a:ext>
                </a:extLst>
              </a:tr>
              <a:tr h="256273">
                <a:tc>
                  <a:txBody>
                    <a:bodyPr/>
                    <a:lstStyle/>
                    <a:p>
                      <a:r>
                        <a:rPr lang="fr-FR" sz="900" b="1">
                          <a:solidFill>
                            <a:schemeClr val="bg1"/>
                          </a:solidFill>
                        </a:rPr>
                        <a:t>Résa / Achat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721451"/>
                  </a:ext>
                </a:extLst>
              </a:tr>
              <a:tr h="256273">
                <a:tc>
                  <a:txBody>
                    <a:bodyPr/>
                    <a:lstStyle/>
                    <a:p>
                      <a:r>
                        <a:rPr lang="fr-FR" sz="900" b="1">
                          <a:solidFill>
                            <a:schemeClr val="bg1"/>
                          </a:solidFill>
                        </a:rPr>
                        <a:t>Usage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7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6054852"/>
                  </a:ext>
                </a:extLst>
              </a:tr>
              <a:tr h="256273">
                <a:tc>
                  <a:txBody>
                    <a:bodyPr/>
                    <a:lstStyle/>
                    <a:p>
                      <a:r>
                        <a:rPr lang="fr-FR" sz="900" b="1">
                          <a:solidFill>
                            <a:schemeClr val="bg1"/>
                          </a:solidFill>
                        </a:rPr>
                        <a:t>Consommation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586312"/>
                  </a:ext>
                </a:extLst>
              </a:tr>
              <a:tr h="256273">
                <a:tc>
                  <a:txBody>
                    <a:bodyPr/>
                    <a:lstStyle/>
                    <a:p>
                      <a:r>
                        <a:rPr lang="fr-FR" sz="900" b="1">
                          <a:solidFill>
                            <a:schemeClr val="bg1"/>
                          </a:solidFill>
                        </a:rPr>
                        <a:t>Facturation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61D83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9186994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11F00AE1-CC73-4783-A1A3-16E9B02FEF3E}"/>
              </a:ext>
            </a:extLst>
          </p:cNvPr>
          <p:cNvSpPr/>
          <p:nvPr/>
        </p:nvSpPr>
        <p:spPr>
          <a:xfrm>
            <a:off x="682865" y="4069880"/>
            <a:ext cx="8099868" cy="12057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noAutofit/>
          </a:bodyPr>
          <a:lstStyle/>
          <a:p>
            <a:pPr algn="ctr" defTabSz="825500" hangingPunct="0"/>
            <a:r>
              <a:rPr lang="fr-FR" sz="1050" b="1">
                <a:solidFill>
                  <a:srgbClr val="00A2FF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Blocs fonctionnels commun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1E452F6-8D53-446A-8BB0-031DBF4C93D7}"/>
              </a:ext>
            </a:extLst>
          </p:cNvPr>
          <p:cNvGrpSpPr/>
          <p:nvPr/>
        </p:nvGrpSpPr>
        <p:grpSpPr>
          <a:xfrm>
            <a:off x="682868" y="1524333"/>
            <a:ext cx="10826265" cy="411727"/>
            <a:chOff x="-2039056" y="3013799"/>
            <a:chExt cx="8403829" cy="411727"/>
          </a:xfrm>
        </p:grpSpPr>
        <p:sp>
          <p:nvSpPr>
            <p:cNvPr id="22" name="Rectangle: Rounded Corners 36">
              <a:extLst>
                <a:ext uri="{FF2B5EF4-FFF2-40B4-BE49-F238E27FC236}">
                  <a16:creationId xmlns:a16="http://schemas.microsoft.com/office/drawing/2014/main" id="{7B17BF4B-C44A-4C03-87FA-7741AC883786}"/>
                </a:ext>
              </a:extLst>
            </p:cNvPr>
            <p:cNvSpPr/>
            <p:nvPr/>
          </p:nvSpPr>
          <p:spPr>
            <a:xfrm>
              <a:off x="4351401" y="3013799"/>
              <a:ext cx="2013372" cy="404924"/>
            </a:xfrm>
            <a:prstGeom prst="round2SameRect">
              <a:avLst/>
            </a:prstGeom>
            <a:solidFill>
              <a:schemeClr val="accent2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 anchorCtr="0">
              <a:noAutofit/>
            </a:bodyPr>
            <a:lstStyle/>
            <a:p>
              <a:pPr algn="ctr" defTabSz="412750" hangingPunct="0"/>
              <a:r>
                <a:rPr lang="fr-FR" sz="1000" b="1" ker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Jost Medium"/>
                </a:rPr>
                <a:t>COMPTE MOBILITE STANDARD</a:t>
              </a:r>
            </a:p>
          </p:txBody>
        </p:sp>
        <p:sp>
          <p:nvSpPr>
            <p:cNvPr id="23" name="Rectangle: Rounded Corners 36">
              <a:extLst>
                <a:ext uri="{FF2B5EF4-FFF2-40B4-BE49-F238E27FC236}">
                  <a16:creationId xmlns:a16="http://schemas.microsoft.com/office/drawing/2014/main" id="{39F4533C-9911-4E91-8528-098E998F979E}"/>
                </a:ext>
              </a:extLst>
            </p:cNvPr>
            <p:cNvSpPr/>
            <p:nvPr/>
          </p:nvSpPr>
          <p:spPr>
            <a:xfrm>
              <a:off x="-2039056" y="3020602"/>
              <a:ext cx="6287474" cy="404924"/>
            </a:xfrm>
            <a:prstGeom prst="round2SameRect">
              <a:avLst/>
            </a:prstGeom>
            <a:solidFill>
              <a:schemeClr val="accent2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 anchorCtr="0">
              <a:noAutofit/>
            </a:bodyPr>
            <a:lstStyle/>
            <a:p>
              <a:pPr algn="ctr" defTabSz="412750" hangingPunct="0">
                <a:defRPr/>
              </a:pPr>
              <a:r>
                <a:rPr lang="fr-FR" sz="1000" b="1" kern="0">
                  <a:solidFill>
                    <a:srgbClr val="FFFFFF"/>
                  </a:solidFill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rPr>
                <a:t>GATEWAY - Adaptateurs MSP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98741DC2-20D8-4791-90C4-A75D12B0FBA2}"/>
              </a:ext>
            </a:extLst>
          </p:cNvPr>
          <p:cNvSpPr txBox="1"/>
          <p:nvPr/>
        </p:nvSpPr>
        <p:spPr>
          <a:xfrm>
            <a:off x="682864" y="4365786"/>
            <a:ext cx="8099868" cy="8336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numCol="3" anchor="ctr">
            <a:noAutofit/>
          </a:bodyPr>
          <a:lstStyle/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PI de point d’entrée unique pour les MaaS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iguillage des requêtes MaaS vers l’adaptateur pour le format du MSP concerné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nvoi des requêtes aux MSP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aptation des donnée de mobilité transitant 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pervision des services MSPs les plus utilisés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pervision des performances des connexions avec les MSP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censement/découverte des services des  MSPs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figuration techniqu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0B34CC-B378-4B8F-9F01-99DA467E3A2B}"/>
              </a:ext>
            </a:extLst>
          </p:cNvPr>
          <p:cNvSpPr txBox="1"/>
          <p:nvPr/>
        </p:nvSpPr>
        <p:spPr>
          <a:xfrm>
            <a:off x="1740624" y="6587896"/>
            <a:ext cx="4378037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2438338" hangingPunct="0"/>
            <a:r>
              <a:rPr lang="fr-FR" sz="1200" i="1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Les hypothèses d’estimation associées sont présentées en annexe</a:t>
            </a:r>
          </a:p>
        </p:txBody>
      </p:sp>
    </p:spTree>
    <p:extLst>
      <p:ext uri="{BB962C8B-B14F-4D97-AF65-F5344CB8AC3E}">
        <p14:creationId xmlns:p14="http://schemas.microsoft.com/office/powerpoint/2010/main" val="81323832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35">
            <a:extLst>
              <a:ext uri="{FF2B5EF4-FFF2-40B4-BE49-F238E27FC236}">
                <a16:creationId xmlns:a16="http://schemas.microsoft.com/office/drawing/2014/main" id="{6D73B40A-7C3C-4FDC-8849-30E114A5AB2A}"/>
              </a:ext>
            </a:extLst>
          </p:cNvPr>
          <p:cNvSpPr/>
          <p:nvPr/>
        </p:nvSpPr>
        <p:spPr>
          <a:xfrm>
            <a:off x="550198" y="1137920"/>
            <a:ext cx="11091601" cy="4950061"/>
          </a:xfrm>
          <a:prstGeom prst="rect">
            <a:avLst/>
          </a:prstGeom>
          <a:solidFill>
            <a:srgbClr val="01BF7D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algn="ctr">
              <a:spcAft>
                <a:spcPts val="600"/>
              </a:spcAft>
            </a:pPr>
            <a:r>
              <a:rPr lang="fr-FR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B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CE859A-7AA9-4D9C-91C5-5542A6EEDFB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fr-FR" smtClean="0"/>
              <a:t>5</a:t>
            </a:fld>
            <a:endParaRPr lang="fr-F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183DB2-98E7-42A0-AA46-75D698B01626}"/>
              </a:ext>
            </a:extLst>
          </p:cNvPr>
          <p:cNvSpPr txBox="1"/>
          <p:nvPr/>
        </p:nvSpPr>
        <p:spPr>
          <a:xfrm>
            <a:off x="8915398" y="1980296"/>
            <a:ext cx="2593733" cy="3295315"/>
          </a:xfrm>
          <a:prstGeom prst="rect">
            <a:avLst/>
          </a:prstGeom>
          <a:solidFill>
            <a:srgbClr val="F2F2F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91440" tIns="91440" rIns="91440" bIns="45720" anchor="t">
            <a:noAutofit/>
          </a:bodyPr>
          <a:lstStyle/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Authentification avec </a:t>
            </a:r>
            <a:r>
              <a:rPr lang="fr-FR" sz="1050" dirty="0" err="1">
                <a:latin typeface="Arial"/>
                <a:cs typeface="Arial"/>
              </a:rPr>
              <a:t>FranceConnect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Certification de l'identité avec </a:t>
            </a:r>
            <a:r>
              <a:rPr lang="fr-FR" sz="1050" dirty="0" err="1">
                <a:latin typeface="Arial"/>
                <a:cs typeface="Arial"/>
              </a:rPr>
              <a:t>FranceConnect</a:t>
            </a:r>
            <a:endParaRPr lang="fr-FR" sz="1050" dirty="0">
              <a:latin typeface="Arial"/>
              <a:cs typeface="Arial"/>
            </a:endParaRP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Connexions avec le compte MOB aux </a:t>
            </a:r>
            <a:r>
              <a:rPr lang="fr-FR" sz="1050" dirty="0" err="1">
                <a:latin typeface="Arial"/>
                <a:cs typeface="Arial"/>
              </a:rPr>
              <a:t>MaaS</a:t>
            </a:r>
            <a:r>
              <a:rPr lang="fr-FR" sz="1050" dirty="0">
                <a:latin typeface="Arial"/>
                <a:cs typeface="Arial"/>
              </a:rPr>
              <a:t> et </a:t>
            </a:r>
            <a:r>
              <a:rPr lang="fr-FR" sz="1050" dirty="0" err="1">
                <a:latin typeface="Arial"/>
                <a:cs typeface="Arial"/>
              </a:rPr>
              <a:t>MSPs</a:t>
            </a:r>
            <a:r>
              <a:rPr lang="fr-FR" sz="1050" dirty="0">
                <a:latin typeface="Arial"/>
                <a:cs typeface="Arial"/>
              </a:rPr>
              <a:t> partenaires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Stockage et mise à disposition des données usagers (identité, permis de conduire, informations fiscales)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Structure du compte mobilité standardisé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A41565-FE17-4649-A2E0-385EE4F3B373}"/>
              </a:ext>
            </a:extLst>
          </p:cNvPr>
          <p:cNvSpPr/>
          <p:nvPr/>
        </p:nvSpPr>
        <p:spPr>
          <a:xfrm>
            <a:off x="682866" y="1980297"/>
            <a:ext cx="8099864" cy="204534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050" b="1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Blocs fonctionnels par mode de transpor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5B9D58-25CD-45CD-8377-75405B83FD64}"/>
              </a:ext>
            </a:extLst>
          </p:cNvPr>
          <p:cNvSpPr/>
          <p:nvPr/>
        </p:nvSpPr>
        <p:spPr>
          <a:xfrm>
            <a:off x="682863" y="5330710"/>
            <a:ext cx="10826267" cy="62141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05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Glob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E1DF46-F5D5-461D-9F4F-98A6ECEA1DF9}"/>
              </a:ext>
            </a:extLst>
          </p:cNvPr>
          <p:cNvSpPr txBox="1"/>
          <p:nvPr/>
        </p:nvSpPr>
        <p:spPr>
          <a:xfrm>
            <a:off x="682863" y="5554241"/>
            <a:ext cx="10826267" cy="4024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numCol="4" anchor="ctr">
            <a:no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050">
                <a:latin typeface="Arial" panose="020B0604020202020204" pitchFamily="34" charset="0"/>
                <a:cs typeface="Arial" panose="020B0604020202020204" pitchFamily="34" charset="0"/>
              </a:rPr>
              <a:t>Conformité RGPD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050">
                <a:latin typeface="Arial" panose="020B0604020202020204" pitchFamily="34" charset="0"/>
                <a:cs typeface="Arial" panose="020B0604020202020204" pitchFamily="34" charset="0"/>
              </a:rPr>
              <a:t>Publication </a:t>
            </a:r>
            <a:r>
              <a:rPr lang="fr-FR" sz="1050" err="1">
                <a:latin typeface="Arial" panose="020B0604020202020204" pitchFamily="34" charset="0"/>
                <a:cs typeface="Arial" panose="020B0604020202020204" pitchFamily="34" charset="0"/>
              </a:rPr>
              <a:t>Opensource</a:t>
            </a:r>
            <a:endParaRPr lang="fr-FR" sz="105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050">
                <a:latin typeface="Arial" panose="020B0604020202020204" pitchFamily="34" charset="0"/>
                <a:cs typeface="Arial" panose="020B0604020202020204" pitchFamily="34" charset="0"/>
              </a:rPr>
              <a:t>Audit du code et de l’infrastructur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050">
                <a:latin typeface="Arial" panose="020B0604020202020204" pitchFamily="34" charset="0"/>
                <a:cs typeface="Arial" panose="020B0604020202020204" pitchFamily="34" charset="0"/>
              </a:rPr>
              <a:t>Environnements techniques</a:t>
            </a:r>
          </a:p>
        </p:txBody>
      </p:sp>
      <p:graphicFrame>
        <p:nvGraphicFramePr>
          <p:cNvPr id="19" name="Tableau 2">
            <a:extLst>
              <a:ext uri="{FF2B5EF4-FFF2-40B4-BE49-F238E27FC236}">
                <a16:creationId xmlns:a16="http://schemas.microsoft.com/office/drawing/2014/main" id="{6A3A5FB0-0FEC-46FC-AD5A-687E9DF899D8}"/>
              </a:ext>
            </a:extLst>
          </p:cNvPr>
          <p:cNvGraphicFramePr>
            <a:graphicFrameLocks noGrp="1"/>
          </p:cNvGraphicFramePr>
          <p:nvPr/>
        </p:nvGraphicFramePr>
        <p:xfrm>
          <a:off x="773723" y="2277563"/>
          <a:ext cx="7886703" cy="16352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4583">
                  <a:extLst>
                    <a:ext uri="{9D8B030D-6E8A-4147-A177-3AD203B41FA5}">
                      <a16:colId xmlns:a16="http://schemas.microsoft.com/office/drawing/2014/main" val="911484497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570102566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2601797515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3425659141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2437260493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66612156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1792896411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1047674517"/>
                    </a:ext>
                  </a:extLst>
                </a:gridCol>
                <a:gridCol w="840265">
                  <a:extLst>
                    <a:ext uri="{9D8B030D-6E8A-4147-A177-3AD203B41FA5}">
                      <a16:colId xmlns:a16="http://schemas.microsoft.com/office/drawing/2014/main" val="3636856221"/>
                    </a:ext>
                  </a:extLst>
                </a:gridCol>
              </a:tblGrid>
              <a:tr h="309606">
                <a:tc>
                  <a:txBody>
                    <a:bodyPr/>
                    <a:lstStyle/>
                    <a:p>
                      <a:endParaRPr lang="fr-FR" sz="900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dirty="0"/>
                        <a:t>TC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dirty="0"/>
                        <a:t>Co- voiturage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dirty="0"/>
                        <a:t>Stationnement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dirty="0"/>
                        <a:t>Recharge VE</a:t>
                      </a:r>
                      <a:endParaRPr lang="fr-FR" dirty="0"/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dirty="0"/>
                        <a:t>VLS </a:t>
                      </a:r>
                      <a:endParaRPr lang="fr-FR" sz="900"/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err="1"/>
                        <a:t>Auto-partage</a:t>
                      </a:r>
                      <a:endParaRPr lang="fr-FR" sz="900"/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dirty="0"/>
                        <a:t>Free-</a:t>
                      </a:r>
                      <a:r>
                        <a:rPr lang="fr-FR" sz="900" dirty="0" err="1"/>
                        <a:t>floating</a:t>
                      </a:r>
                      <a:endParaRPr lang="fr-FR" sz="900" dirty="0"/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dirty="0"/>
                        <a:t>Taxi / VTC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538476"/>
                  </a:ext>
                </a:extLst>
              </a:tr>
              <a:tr h="256273"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1" dirty="0">
                          <a:solidFill>
                            <a:schemeClr val="bg1"/>
                          </a:solidFill>
                        </a:rPr>
                        <a:t>IV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593763"/>
                  </a:ext>
                </a:extLst>
              </a:tr>
              <a:tr h="256273">
                <a:tc>
                  <a:txBody>
                    <a:bodyPr/>
                    <a:lstStyle/>
                    <a:p>
                      <a:r>
                        <a:rPr lang="fr-FR" sz="900" b="1" dirty="0">
                          <a:solidFill>
                            <a:schemeClr val="bg1"/>
                          </a:solidFill>
                        </a:rPr>
                        <a:t>Résa / Achat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5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900" b="1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721451"/>
                  </a:ext>
                </a:extLst>
              </a:tr>
              <a:tr h="256273">
                <a:tc>
                  <a:txBody>
                    <a:bodyPr/>
                    <a:lstStyle/>
                    <a:p>
                      <a:r>
                        <a:rPr lang="fr-FR" sz="900" b="1" dirty="0">
                          <a:solidFill>
                            <a:schemeClr val="bg1"/>
                          </a:solidFill>
                        </a:rPr>
                        <a:t>Usage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5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70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50" b="1" i="0" u="none" strike="noStrike" cap="none" spc="0" baseline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6054852"/>
                  </a:ext>
                </a:extLst>
              </a:tr>
              <a:tr h="256273">
                <a:tc>
                  <a:txBody>
                    <a:bodyPr/>
                    <a:lstStyle/>
                    <a:p>
                      <a:r>
                        <a:rPr lang="fr-FR" sz="900" b="1" dirty="0">
                          <a:solidFill>
                            <a:schemeClr val="bg1"/>
                          </a:solidFill>
                        </a:rPr>
                        <a:t>Consommation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1">
                        <a:solidFill>
                          <a:schemeClr val="bg1"/>
                        </a:solidFill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586312"/>
                  </a:ext>
                </a:extLst>
              </a:tr>
              <a:tr h="256273">
                <a:tc>
                  <a:txBody>
                    <a:bodyPr/>
                    <a:lstStyle/>
                    <a:p>
                      <a:r>
                        <a:rPr lang="fr-FR" sz="900" b="1" dirty="0">
                          <a:solidFill>
                            <a:schemeClr val="bg1"/>
                          </a:solidFill>
                        </a:rPr>
                        <a:t>Facturation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2921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cap="none" spc="0" baseline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+mn-cs"/>
                        <a:sym typeface="Futura"/>
                      </a:endParaRPr>
                    </a:p>
                  </a:txBody>
                  <a:tcPr marL="79563" marR="79563" marT="39781" marB="39781" anchor="ctr">
                    <a:solidFill>
                      <a:srgbClr val="D5D5D5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1000" dirty="0"/>
                    </a:p>
                  </a:txBody>
                  <a:tcPr marL="79563" marR="79563" marT="39781" marB="39781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9186994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11F00AE1-CC73-4783-A1A3-16E9B02FEF3E}"/>
              </a:ext>
            </a:extLst>
          </p:cNvPr>
          <p:cNvSpPr/>
          <p:nvPr/>
        </p:nvSpPr>
        <p:spPr>
          <a:xfrm>
            <a:off x="682865" y="4069880"/>
            <a:ext cx="8099868" cy="12057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050" b="1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Blocs fonctionnels commun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1E452F6-8D53-446A-8BB0-031DBF4C93D7}"/>
              </a:ext>
            </a:extLst>
          </p:cNvPr>
          <p:cNvGrpSpPr/>
          <p:nvPr/>
        </p:nvGrpSpPr>
        <p:grpSpPr>
          <a:xfrm>
            <a:off x="682867" y="1524332"/>
            <a:ext cx="10826265" cy="411727"/>
            <a:chOff x="-2039056" y="3013799"/>
            <a:chExt cx="8403829" cy="411727"/>
          </a:xfrm>
        </p:grpSpPr>
        <p:sp>
          <p:nvSpPr>
            <p:cNvPr id="22" name="Rectangle: Rounded Corners 36">
              <a:extLst>
                <a:ext uri="{FF2B5EF4-FFF2-40B4-BE49-F238E27FC236}">
                  <a16:creationId xmlns:a16="http://schemas.microsoft.com/office/drawing/2014/main" id="{7B17BF4B-C44A-4C03-87FA-7741AC883786}"/>
                </a:ext>
              </a:extLst>
            </p:cNvPr>
            <p:cNvSpPr/>
            <p:nvPr/>
          </p:nvSpPr>
          <p:spPr>
            <a:xfrm>
              <a:off x="4351401" y="3013799"/>
              <a:ext cx="2013372" cy="404924"/>
            </a:xfrm>
            <a:prstGeom prst="round2SameRect">
              <a:avLst/>
            </a:prstGeom>
            <a:solidFill>
              <a:schemeClr val="accent2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 anchorCtr="0">
              <a:noAutofit/>
            </a:bodyPr>
            <a:lstStyle/>
            <a:p>
              <a:pPr algn="ctr" defTabSz="412750" hangingPunct="0"/>
              <a:r>
                <a:rPr lang="fr-FR" sz="1000" b="1" kern="0" dirty="0">
                  <a:solidFill>
                    <a:srgbClr val="FFFFFF"/>
                  </a:solidFill>
                  <a:latin typeface="Arial"/>
                  <a:cs typeface="Arial"/>
                  <a:sym typeface="Jost Medium"/>
                </a:rPr>
                <a:t>COMPTE MOBILITE ETENDU</a:t>
              </a:r>
              <a:endParaRPr lang="fr-FR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Jost Medium"/>
              </a:endParaRPr>
            </a:p>
          </p:txBody>
        </p:sp>
        <p:sp>
          <p:nvSpPr>
            <p:cNvPr id="23" name="Rectangle: Rounded Corners 36">
              <a:extLst>
                <a:ext uri="{FF2B5EF4-FFF2-40B4-BE49-F238E27FC236}">
                  <a16:creationId xmlns:a16="http://schemas.microsoft.com/office/drawing/2014/main" id="{39F4533C-9911-4E91-8528-098E998F979E}"/>
                </a:ext>
              </a:extLst>
            </p:cNvPr>
            <p:cNvSpPr/>
            <p:nvPr/>
          </p:nvSpPr>
          <p:spPr>
            <a:xfrm>
              <a:off x="-2039056" y="3020602"/>
              <a:ext cx="6287474" cy="404924"/>
            </a:xfrm>
            <a:prstGeom prst="round2SameRect">
              <a:avLst/>
            </a:prstGeom>
            <a:solidFill>
              <a:schemeClr val="accent2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 anchorCtr="0">
              <a:noAutofit/>
            </a:bodyPr>
            <a:lstStyle/>
            <a:p>
              <a:pPr algn="ctr" defTabSz="412750" hangingPunct="0">
                <a:defRPr/>
              </a:pPr>
              <a:r>
                <a:rPr lang="fr-FR" sz="1000" b="1" kern="0">
                  <a:solidFill>
                    <a:srgbClr val="FFFFFF"/>
                  </a:solidFill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rPr>
                <a:t>GATEWAY - Adaptateurs MSP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98741DC2-20D8-4791-90C4-A75D12B0FBA2}"/>
              </a:ext>
            </a:extLst>
          </p:cNvPr>
          <p:cNvSpPr txBox="1"/>
          <p:nvPr/>
        </p:nvSpPr>
        <p:spPr>
          <a:xfrm>
            <a:off x="682864" y="4365785"/>
            <a:ext cx="8099868" cy="8336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91440" tIns="45720" rIns="91440" bIns="45720" numCol="3" anchor="ctr">
            <a:noAutofit/>
          </a:bodyPr>
          <a:lstStyle/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API de point d’entrée unique pour les </a:t>
            </a:r>
            <a:r>
              <a:rPr lang="fr-FR" sz="1050" dirty="0" err="1">
                <a:latin typeface="Arial"/>
                <a:cs typeface="Arial"/>
              </a:rPr>
              <a:t>MaaS</a:t>
            </a:r>
            <a:endParaRPr lang="fr-FR" sz="1050" dirty="0">
              <a:latin typeface="Arial"/>
              <a:cs typeface="Arial"/>
            </a:endParaRP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Aiguillage des requêtes </a:t>
            </a:r>
            <a:r>
              <a:rPr lang="fr-FR" sz="1050" dirty="0" err="1">
                <a:latin typeface="Arial"/>
                <a:cs typeface="Arial"/>
              </a:rPr>
              <a:t>MaaS</a:t>
            </a:r>
            <a:r>
              <a:rPr lang="fr-FR" sz="1050" dirty="0">
                <a:latin typeface="Arial"/>
                <a:cs typeface="Arial"/>
              </a:rPr>
              <a:t> vers l’adaptateur pour le format du MSP concerné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Envoi des requêtes aux MSP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Captation des données de mobilité transitant </a:t>
            </a:r>
            <a:endParaRPr lang="fr-FR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Supervision des services </a:t>
            </a:r>
            <a:r>
              <a:rPr lang="fr-FR" sz="1050" dirty="0" err="1">
                <a:latin typeface="Arial"/>
                <a:cs typeface="Arial"/>
              </a:rPr>
              <a:t>MSPs</a:t>
            </a:r>
            <a:r>
              <a:rPr lang="fr-FR" sz="1050" dirty="0">
                <a:latin typeface="Arial"/>
                <a:cs typeface="Arial"/>
              </a:rPr>
              <a:t> les plus utilisés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Supervision des performances des connexions avec les MSP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Recensement/découverte des services des </a:t>
            </a:r>
            <a:r>
              <a:rPr lang="fr-FR" sz="1050" dirty="0" err="1">
                <a:latin typeface="Arial"/>
                <a:cs typeface="Arial"/>
              </a:rPr>
              <a:t>MSPs</a:t>
            </a:r>
          </a:p>
          <a:p>
            <a:pPr marL="114300" indent="-1143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050" dirty="0">
                <a:latin typeface="Arial"/>
                <a:cs typeface="Arial"/>
              </a:rPr>
              <a:t>Configuration techniqu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0B34CC-B378-4B8F-9F01-99DA467E3A2B}"/>
              </a:ext>
            </a:extLst>
          </p:cNvPr>
          <p:cNvSpPr txBox="1"/>
          <p:nvPr/>
        </p:nvSpPr>
        <p:spPr>
          <a:xfrm>
            <a:off x="1740623" y="6587895"/>
            <a:ext cx="4378037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r-FR" sz="1200" i="1">
                <a:solidFill>
                  <a:srgbClr val="5E5E5E"/>
                </a:solidFill>
                <a:latin typeface="Corbel" panose="020B0503020204020204" pitchFamily="34" charset="0"/>
                <a:ea typeface="Helvetica Neue"/>
                <a:cs typeface="Helvetica Neue"/>
                <a:sym typeface="Helvetica Neue"/>
              </a:rPr>
              <a:t>Les hypothèses d’estimation associées sont présentées en annexe</a:t>
            </a:r>
            <a:endParaRPr kumimoji="0" lang="fr-FR" sz="1200" b="0" i="1" u="none" strike="noStrike" cap="none" spc="0" normalizeH="0" baseline="0">
              <a:ln>
                <a:noFill/>
              </a:ln>
              <a:solidFill>
                <a:srgbClr val="5E5E5E"/>
              </a:solidFill>
              <a:effectLst/>
              <a:uFillTx/>
              <a:latin typeface="Corbel" panose="020B0503020204020204" pitchFamily="3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7DDDD8E9-C5F9-4E82-BE47-23BF11CD6B4D}"/>
              </a:ext>
            </a:extLst>
          </p:cNvPr>
          <p:cNvSpPr txBox="1">
            <a:spLocks/>
          </p:cNvSpPr>
          <p:nvPr/>
        </p:nvSpPr>
        <p:spPr>
          <a:xfrm>
            <a:off x="240042" y="-58489"/>
            <a:ext cx="11113003" cy="90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lIns="0" tIns="180000" rIns="0" bIns="0" rtlCol="0" anchor="t">
            <a:noAutofit/>
          </a:bodyPr>
          <a:lstStyle>
            <a:lvl1pPr marL="0" marR="0" indent="0" algn="l" defTabSz="121916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 i="0" u="none" strike="noStrike" cap="none" spc="-40" baseline="0" dirty="0">
                <a:solidFill>
                  <a:srgbClr val="46496A"/>
                </a:solidFill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9pPr>
          </a:lstStyle>
          <a:p>
            <a:r>
              <a:rPr lang="fr-FR" dirty="0">
                <a:latin typeface="Arial" panose="020B0604020202020204" pitchFamily="34" charset="0"/>
              </a:rPr>
              <a:t>Les fonctionnalités du HUB ont été définies et priorisées selon les besoins de l’écosystème et les enjeux spécifiques des partenaires pressentis pour l’expérimentation</a:t>
            </a:r>
            <a:endParaRPr lang="fr-FR" kern="0" dirty="0"/>
          </a:p>
        </p:txBody>
      </p:sp>
    </p:spTree>
    <p:extLst>
      <p:ext uri="{BB962C8B-B14F-4D97-AF65-F5344CB8AC3E}">
        <p14:creationId xmlns:p14="http://schemas.microsoft.com/office/powerpoint/2010/main" val="18711052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FC9AAA0-A28F-4F10-9F9F-8DAEDCB2C54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025725" y="13245286"/>
            <a:ext cx="152286" cy="210314"/>
          </a:xfrm>
        </p:spPr>
        <p:txBody>
          <a:bodyPr/>
          <a:lstStyle/>
          <a:p>
            <a:fld id="{86CB4B4D-7CA3-9044-876B-883B54F8677D}" type="slidenum">
              <a:rPr lang="fr-FR">
                <a:latin typeface="Futura"/>
              </a:rPr>
              <a:pPr/>
              <a:t>6</a:t>
            </a:fld>
            <a:endParaRPr lang="fr-FR">
              <a:latin typeface="Futura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836201-48DA-433C-932C-052A31F90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10813263" cy="906208"/>
          </a:xfrm>
        </p:spPr>
        <p:txBody>
          <a:bodyPr/>
          <a:lstStyle/>
          <a:p>
            <a:r>
              <a:rPr lang="fr-FR"/>
              <a:t>La standardisation va s’appuyer sur les orientations issues du GT </a:t>
            </a:r>
            <a:r>
              <a:rPr lang="fr-FR" err="1"/>
              <a:t>MaaS</a:t>
            </a:r>
            <a:r>
              <a:rPr lang="fr-FR"/>
              <a:t> en réunissant AOM, éditeurs de </a:t>
            </a:r>
            <a:r>
              <a:rPr lang="fr-FR" err="1"/>
              <a:t>MaaS</a:t>
            </a:r>
            <a:r>
              <a:rPr lang="fr-FR"/>
              <a:t> et MSP, avec des niveaux de maturité différents selon les types de mobilité</a:t>
            </a:r>
          </a:p>
        </p:txBody>
      </p:sp>
      <p:graphicFrame>
        <p:nvGraphicFramePr>
          <p:cNvPr id="4" name="Tableau 2">
            <a:extLst>
              <a:ext uri="{FF2B5EF4-FFF2-40B4-BE49-F238E27FC236}">
                <a16:creationId xmlns:a16="http://schemas.microsoft.com/office/drawing/2014/main" id="{8BAFEF68-6541-4C22-A8B3-82106A9CAA9F}"/>
              </a:ext>
            </a:extLst>
          </p:cNvPr>
          <p:cNvGraphicFramePr>
            <a:graphicFrameLocks noGrp="1"/>
          </p:cNvGraphicFramePr>
          <p:nvPr/>
        </p:nvGraphicFramePr>
        <p:xfrm>
          <a:off x="1135616" y="1321345"/>
          <a:ext cx="9432740" cy="3273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7534">
                  <a:extLst>
                    <a:ext uri="{9D8B030D-6E8A-4147-A177-3AD203B41FA5}">
                      <a16:colId xmlns:a16="http://schemas.microsoft.com/office/drawing/2014/main" val="911484497"/>
                    </a:ext>
                  </a:extLst>
                </a:gridCol>
                <a:gridCol w="1347534">
                  <a:extLst>
                    <a:ext uri="{9D8B030D-6E8A-4147-A177-3AD203B41FA5}">
                      <a16:colId xmlns:a16="http://schemas.microsoft.com/office/drawing/2014/main" val="570102566"/>
                    </a:ext>
                  </a:extLst>
                </a:gridCol>
                <a:gridCol w="1347534">
                  <a:extLst>
                    <a:ext uri="{9D8B030D-6E8A-4147-A177-3AD203B41FA5}">
                      <a16:colId xmlns:a16="http://schemas.microsoft.com/office/drawing/2014/main" val="2601797515"/>
                    </a:ext>
                  </a:extLst>
                </a:gridCol>
                <a:gridCol w="1347534">
                  <a:extLst>
                    <a:ext uri="{9D8B030D-6E8A-4147-A177-3AD203B41FA5}">
                      <a16:colId xmlns:a16="http://schemas.microsoft.com/office/drawing/2014/main" val="3425659141"/>
                    </a:ext>
                  </a:extLst>
                </a:gridCol>
                <a:gridCol w="673768">
                  <a:extLst>
                    <a:ext uri="{9D8B030D-6E8A-4147-A177-3AD203B41FA5}">
                      <a16:colId xmlns:a16="http://schemas.microsoft.com/office/drawing/2014/main" val="729176713"/>
                    </a:ext>
                  </a:extLst>
                </a:gridCol>
                <a:gridCol w="673768">
                  <a:extLst>
                    <a:ext uri="{9D8B030D-6E8A-4147-A177-3AD203B41FA5}">
                      <a16:colId xmlns:a16="http://schemas.microsoft.com/office/drawing/2014/main" val="1759787120"/>
                    </a:ext>
                  </a:extLst>
                </a:gridCol>
                <a:gridCol w="1347534">
                  <a:extLst>
                    <a:ext uri="{9D8B030D-6E8A-4147-A177-3AD203B41FA5}">
                      <a16:colId xmlns:a16="http://schemas.microsoft.com/office/drawing/2014/main" val="248433649"/>
                    </a:ext>
                  </a:extLst>
                </a:gridCol>
                <a:gridCol w="1347534">
                  <a:extLst>
                    <a:ext uri="{9D8B030D-6E8A-4147-A177-3AD203B41FA5}">
                      <a16:colId xmlns:a16="http://schemas.microsoft.com/office/drawing/2014/main" val="3636856221"/>
                    </a:ext>
                  </a:extLst>
                </a:gridCol>
              </a:tblGrid>
              <a:tr h="484981">
                <a:tc>
                  <a:txBody>
                    <a:bodyPr/>
                    <a:lstStyle/>
                    <a:p>
                      <a:r>
                        <a:rPr lang="fr-FR" sz="9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s de données échangées</a:t>
                      </a:r>
                    </a:p>
                  </a:txBody>
                  <a:tcPr marL="79563" marR="79563" marT="39781" marB="39781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 public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oiturage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ionnement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harge VE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LS / Autopartage / Free </a:t>
                      </a:r>
                      <a:r>
                        <a:rPr lang="fr-FR" sz="90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oating</a:t>
                      </a:r>
                      <a:endParaRPr lang="fr-FR" sz="9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xi / VTC</a:t>
                      </a:r>
                    </a:p>
                  </a:txBody>
                  <a:tcPr marL="79563" marR="79563" marT="39781" marB="39781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538476"/>
                  </a:ext>
                </a:extLst>
              </a:tr>
              <a:tr h="372103"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te mobilité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 gridSpan="7">
                  <a:txBody>
                    <a:bodyPr/>
                    <a:lstStyle/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 Compte mobilité* </a:t>
                      </a:r>
                      <a:endParaRPr lang="fr-FR" sz="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9204043"/>
                  </a:ext>
                </a:extLst>
              </a:tr>
              <a:tr h="928230">
                <a:tc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ormation voyageur et recherche d’itinéraire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EX</a:t>
                      </a:r>
                    </a:p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RI</a:t>
                      </a:r>
                    </a:p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EN TC278)</a:t>
                      </a:r>
                    </a:p>
                  </a:txBody>
                  <a:tcPr marL="79563" marR="79563" marT="39781" marB="39781" anchor="ctr">
                    <a:solidFill>
                      <a:schemeClr val="accent1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 RDEX+ / covoiturage</a:t>
                      </a:r>
                    </a:p>
                  </a:txBody>
                  <a:tcPr marL="79563" marR="79563" marT="39781" marB="39781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EX – profil stationnement (CN03)</a:t>
                      </a:r>
                    </a:p>
                  </a:txBody>
                  <a:tcPr marL="79563" marR="79563" marT="39781" marB="39781" anchor="ctr">
                    <a:solidFill>
                      <a:schemeClr val="accent1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 recharge (AFIREV – </a:t>
                      </a:r>
                      <a:r>
                        <a:rPr lang="fr-FR" sz="7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ur la recharge en itinérance</a:t>
                      </a:r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PI / IEC 63119</a:t>
                      </a:r>
                    </a:p>
                  </a:txBody>
                  <a:tcPr marL="79563" marR="79563" marT="39781" marB="39781" anchor="ctr">
                    <a:solidFill>
                      <a:schemeClr val="accent1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EX – partie 5 </a:t>
                      </a:r>
                      <a:b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N TC278)</a:t>
                      </a:r>
                    </a:p>
                  </a:txBody>
                  <a:tcPr marL="79563" marR="79563" marT="39781" marB="39781" anchor="ctr">
                    <a:solidFill>
                      <a:schemeClr val="accent1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FS</a:t>
                      </a:r>
                    </a:p>
                  </a:txBody>
                  <a:tcPr marL="79563" marR="79563" marT="39781" marB="39781" anchor="ctr">
                    <a:solidFill>
                      <a:schemeClr val="accent1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593763"/>
                  </a:ext>
                </a:extLst>
              </a:tr>
              <a:tr h="372103">
                <a:tc>
                  <a:txBody>
                    <a:bodyPr/>
                    <a:lstStyle/>
                    <a:p>
                      <a:r>
                        <a:rPr lang="fr-FR" sz="9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éservation / Achat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ibilité </a:t>
                      </a:r>
                      <a:r>
                        <a:rPr lang="fr-FR" sz="6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yenne</a:t>
                      </a:r>
                      <a:r>
                        <a:rPr lang="fr-FR" sz="6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moyenn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moyenn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PI / IEC 63119</a:t>
                      </a:r>
                    </a:p>
                    <a:p>
                      <a:pPr algn="l"/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chemeClr val="accent1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moyenn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 rowSpan="4">
                  <a:txBody>
                    <a:bodyPr/>
                    <a:lstStyle/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 propriétaire</a:t>
                      </a:r>
                    </a:p>
                    <a:p>
                      <a:r>
                        <a:rPr lang="fr-FR" sz="9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 </a:t>
                      </a:r>
                      <a:r>
                        <a:rPr lang="fr-FR" sz="900" b="1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.taxi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721451"/>
                  </a:ext>
                </a:extLst>
              </a:tr>
              <a:tr h="372103">
                <a:tc>
                  <a:txBody>
                    <a:bodyPr/>
                    <a:lstStyle/>
                    <a:p>
                      <a:r>
                        <a:rPr lang="fr-FR" sz="9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age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moyenn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6054852"/>
                  </a:ext>
                </a:extLst>
              </a:tr>
              <a:tr h="372103">
                <a:tc>
                  <a:txBody>
                    <a:bodyPr/>
                    <a:lstStyle/>
                    <a:p>
                      <a:r>
                        <a:rPr lang="fr-FR" sz="9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ommation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très 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très 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très 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très 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1586312"/>
                  </a:ext>
                </a:extLst>
              </a:tr>
              <a:tr h="372103">
                <a:tc>
                  <a:txBody>
                    <a:bodyPr/>
                    <a:lstStyle/>
                    <a:p>
                      <a:r>
                        <a:rPr lang="fr-FR" sz="9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turation</a:t>
                      </a:r>
                    </a:p>
                  </a:txBody>
                  <a:tcPr marL="79563" marR="79563" marT="39781" marB="39781" anchor="ctr">
                    <a:solidFill>
                      <a:srgbClr val="6F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très 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très 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2921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Accessibilité </a:t>
                      </a:r>
                      <a:r>
                        <a:rPr kumimoji="0" lang="fr-FR" sz="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E5E5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Futura"/>
                        </a:rPr>
                        <a:t>très faible</a:t>
                      </a:r>
                      <a:endParaRPr lang="fr-FR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9563" marR="79563" marT="39781" marB="39781" anchor="ctr">
                    <a:solidFill>
                      <a:srgbClr val="FDD6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9186994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8663103-6783-4778-BD30-62D711839F28}"/>
              </a:ext>
            </a:extLst>
          </p:cNvPr>
          <p:cNvSpPr/>
          <p:nvPr/>
        </p:nvSpPr>
        <p:spPr>
          <a:xfrm>
            <a:off x="10709562" y="4111789"/>
            <a:ext cx="321734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solidFill>
              <a:schemeClr val="accent3">
                <a:lumMod val="40000"/>
                <a:lumOff val="6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278B39-5893-4A76-A826-34E3069E07D9}"/>
              </a:ext>
            </a:extLst>
          </p:cNvPr>
          <p:cNvSpPr/>
          <p:nvPr/>
        </p:nvSpPr>
        <p:spPr>
          <a:xfrm>
            <a:off x="11104881" y="4088827"/>
            <a:ext cx="1087120" cy="166897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fr-FR" sz="700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 en cours de développe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07F299-D471-4490-B78F-AF235C50B72C}"/>
              </a:ext>
            </a:extLst>
          </p:cNvPr>
          <p:cNvSpPr/>
          <p:nvPr/>
        </p:nvSpPr>
        <p:spPr>
          <a:xfrm>
            <a:off x="10709561" y="3675331"/>
            <a:ext cx="321734" cy="108000"/>
          </a:xfrm>
          <a:prstGeom prst="rect">
            <a:avLst/>
          </a:prstGeom>
          <a:solidFill>
            <a:srgbClr val="FDD6C7"/>
          </a:solidFill>
          <a:ln w="12700" cap="flat">
            <a:solidFill>
              <a:schemeClr val="accent5">
                <a:lumMod val="20000"/>
                <a:lumOff val="8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015B2DB-4323-4B7C-88F5-65F92FB25B41}"/>
              </a:ext>
            </a:extLst>
          </p:cNvPr>
          <p:cNvSpPr/>
          <p:nvPr/>
        </p:nvSpPr>
        <p:spPr>
          <a:xfrm>
            <a:off x="11121816" y="3675331"/>
            <a:ext cx="993985" cy="14393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fr-FR" sz="700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PI à développ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06A3369-5843-446B-A4D0-241C509C3442}"/>
              </a:ext>
            </a:extLst>
          </p:cNvPr>
          <p:cNvSpPr/>
          <p:nvPr/>
        </p:nvSpPr>
        <p:spPr>
          <a:xfrm>
            <a:off x="2481751" y="1828913"/>
            <a:ext cx="8086605" cy="344328"/>
          </a:xfrm>
          <a:prstGeom prst="rect">
            <a:avLst/>
          </a:prstGeom>
          <a:noFill/>
          <a:ln w="381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A62C91-CFA5-4BA5-A8C4-573CB2203E96}"/>
              </a:ext>
            </a:extLst>
          </p:cNvPr>
          <p:cNvSpPr/>
          <p:nvPr/>
        </p:nvSpPr>
        <p:spPr>
          <a:xfrm>
            <a:off x="2468079" y="3127921"/>
            <a:ext cx="1321858" cy="1469876"/>
          </a:xfrm>
          <a:prstGeom prst="rect">
            <a:avLst/>
          </a:prstGeom>
          <a:noFill/>
          <a:ln w="381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509F7A1-630D-4BA6-AD9C-5D07B729BDC2}"/>
              </a:ext>
            </a:extLst>
          </p:cNvPr>
          <p:cNvSpPr/>
          <p:nvPr/>
        </p:nvSpPr>
        <p:spPr>
          <a:xfrm>
            <a:off x="6523893" y="3127921"/>
            <a:ext cx="668216" cy="1469876"/>
          </a:xfrm>
          <a:prstGeom prst="rect">
            <a:avLst/>
          </a:prstGeom>
          <a:noFill/>
          <a:ln w="381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5F951F-95E7-4DA7-B1B4-1846B790E09A}"/>
              </a:ext>
            </a:extLst>
          </p:cNvPr>
          <p:cNvSpPr/>
          <p:nvPr/>
        </p:nvSpPr>
        <p:spPr>
          <a:xfrm>
            <a:off x="3805482" y="2179207"/>
            <a:ext cx="1395024" cy="2429910"/>
          </a:xfrm>
          <a:prstGeom prst="rect">
            <a:avLst/>
          </a:prstGeom>
          <a:noFill/>
          <a:ln w="381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4DEEE3-27DC-4658-96B8-311CF65F590C}"/>
              </a:ext>
            </a:extLst>
          </p:cNvPr>
          <p:cNvSpPr/>
          <p:nvPr/>
        </p:nvSpPr>
        <p:spPr>
          <a:xfrm>
            <a:off x="10709562" y="3884770"/>
            <a:ext cx="321734" cy="1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>
            <a:solidFill>
              <a:schemeClr val="accent1">
                <a:lumMod val="20000"/>
                <a:lumOff val="8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24CBBD-F439-49E9-92AC-D978DED2DC86}"/>
              </a:ext>
            </a:extLst>
          </p:cNvPr>
          <p:cNvSpPr/>
          <p:nvPr/>
        </p:nvSpPr>
        <p:spPr>
          <a:xfrm>
            <a:off x="11112832" y="3861357"/>
            <a:ext cx="1002969" cy="166897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fr-FR" sz="700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Standard exista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9B7D823-15D2-463B-8F52-ED2D4C3DB1D6}"/>
              </a:ext>
            </a:extLst>
          </p:cNvPr>
          <p:cNvSpPr/>
          <p:nvPr/>
        </p:nvSpPr>
        <p:spPr>
          <a:xfrm>
            <a:off x="7870372" y="3127921"/>
            <a:ext cx="1326382" cy="1469874"/>
          </a:xfrm>
          <a:prstGeom prst="rect">
            <a:avLst/>
          </a:prstGeom>
          <a:noFill/>
          <a:ln w="381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00CEA03-A8F3-4148-AB2E-292AB99DCA4D}"/>
              </a:ext>
            </a:extLst>
          </p:cNvPr>
          <p:cNvSpPr/>
          <p:nvPr/>
        </p:nvSpPr>
        <p:spPr>
          <a:xfrm>
            <a:off x="10700475" y="2212166"/>
            <a:ext cx="1294433" cy="35558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fr-FR" sz="700" i="1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* API de demande d’aide en cours de développement pour le 1</a:t>
            </a:r>
            <a:r>
              <a:rPr lang="fr-FR" sz="700" i="1" baseline="30000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er</a:t>
            </a:r>
            <a:r>
              <a:rPr lang="fr-FR" sz="700" i="1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 territoire pilote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C87C206-472A-48E0-BE71-E5ECF7178069}"/>
              </a:ext>
            </a:extLst>
          </p:cNvPr>
          <p:cNvSpPr/>
          <p:nvPr/>
        </p:nvSpPr>
        <p:spPr>
          <a:xfrm>
            <a:off x="10709562" y="4338809"/>
            <a:ext cx="321734" cy="166898"/>
          </a:xfrm>
          <a:prstGeom prst="rect">
            <a:avLst/>
          </a:prstGeom>
          <a:noFill/>
          <a:ln w="381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DEF073-722B-4A5A-A6E6-2148AD517E05}"/>
              </a:ext>
            </a:extLst>
          </p:cNvPr>
          <p:cNvSpPr/>
          <p:nvPr/>
        </p:nvSpPr>
        <p:spPr>
          <a:xfrm>
            <a:off x="11112832" y="4316297"/>
            <a:ext cx="1002969" cy="18941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/>
            <a:r>
              <a:rPr lang="fr-FR" sz="700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Périmètre des travaux de standardis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463794D-C609-4BB8-82E2-75E694352F91}"/>
              </a:ext>
            </a:extLst>
          </p:cNvPr>
          <p:cNvGrpSpPr/>
          <p:nvPr/>
        </p:nvGrpSpPr>
        <p:grpSpPr>
          <a:xfrm>
            <a:off x="10803766" y="3253459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4D1FB9CF-5B62-4D9D-B799-6F80EE02542A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B45F54D-DC70-4B8D-AD5A-C53BC319EFE0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F2C1C02-41DC-42D8-BB14-17F853E95610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422CB403-5828-41EC-A1E2-B861F2BC3C21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77E83E9-1AD6-448D-B0DE-722210F47C59}"/>
              </a:ext>
            </a:extLst>
          </p:cNvPr>
          <p:cNvGrpSpPr/>
          <p:nvPr/>
        </p:nvGrpSpPr>
        <p:grpSpPr>
          <a:xfrm>
            <a:off x="11126725" y="3253459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A0C94EEB-CAED-4B7A-B625-81FCF1759BE9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chemeClr val="accent4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206F7506-CEB0-40E3-AB45-4B556F59D21F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accent4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E7A301F4-63D5-46B2-A473-B255F1B6CBC8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DC1A546-2517-4825-BC67-0188EC5A921D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FE2B981-9F68-4282-BC70-987316E1B57D}"/>
              </a:ext>
            </a:extLst>
          </p:cNvPr>
          <p:cNvGrpSpPr/>
          <p:nvPr/>
        </p:nvGrpSpPr>
        <p:grpSpPr>
          <a:xfrm>
            <a:off x="11437179" y="3253460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42FC40E6-374B-45A5-99DE-76A465FC9FA0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CD64F3CE-6E51-4119-B57C-E6FB289EBD30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BEEEDE5A-CAF5-4B71-8EC5-5C845A077347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E02F87A9-0F3F-4B1B-9275-8CC34A7967D2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9F2F2CF-B9DB-41B4-8ED3-581545B0714D}"/>
              </a:ext>
            </a:extLst>
          </p:cNvPr>
          <p:cNvGrpSpPr/>
          <p:nvPr/>
        </p:nvGrpSpPr>
        <p:grpSpPr>
          <a:xfrm>
            <a:off x="11760138" y="3253459"/>
            <a:ext cx="141462" cy="201486"/>
            <a:chOff x="11121815" y="2238375"/>
            <a:chExt cx="233264" cy="332236"/>
          </a:xfrm>
          <a:solidFill>
            <a:srgbClr val="00C377"/>
          </a:solidFill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2C85A3B-18E0-4FD4-9A0F-419DB74B4782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grpFill/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75D63342-83A9-42D5-A527-5C9245F31CF6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grpFill/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FF1F1B36-71BB-4F4D-852A-985D0619E5F9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grpFill/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97A29CA2-C7E9-44C1-85DC-74FF2CCF904C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grpFill/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B78982A-ED2C-4E64-9498-DB61936D807A}"/>
              </a:ext>
            </a:extLst>
          </p:cNvPr>
          <p:cNvGrpSpPr/>
          <p:nvPr/>
        </p:nvGrpSpPr>
        <p:grpSpPr>
          <a:xfrm>
            <a:off x="10705328" y="3468852"/>
            <a:ext cx="1294804" cy="143934"/>
            <a:chOff x="10667142" y="3304247"/>
            <a:chExt cx="1294804" cy="143934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F056906-9BFE-4C8B-AECC-B2A4A13F6EEF}"/>
                </a:ext>
              </a:extLst>
            </p:cNvPr>
            <p:cNvSpPr/>
            <p:nvPr/>
          </p:nvSpPr>
          <p:spPr>
            <a:xfrm>
              <a:off x="10667142" y="3304247"/>
              <a:ext cx="321734" cy="143934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50800" rIns="0" bIns="50800" numCol="1" spcCol="38100" rtlCol="0" anchor="ctr">
              <a:noAutofit/>
            </a:bodyPr>
            <a:lstStyle/>
            <a:p>
              <a:pPr algn="ctr" defTabSz="825500" hangingPunct="0"/>
              <a:r>
                <a:rPr lang="fr-FR" sz="500">
                  <a:solidFill>
                    <a:srgbClr val="5E5E5E"/>
                  </a:solidFill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rPr>
                <a:t>Très faibl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ED94714-6BFE-4946-B388-7CFFDE9E9EAE}"/>
                </a:ext>
              </a:extLst>
            </p:cNvPr>
            <p:cNvSpPr/>
            <p:nvPr/>
          </p:nvSpPr>
          <p:spPr>
            <a:xfrm>
              <a:off x="11003543" y="3304247"/>
              <a:ext cx="321734" cy="143934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50800" rIns="0" bIns="50800" numCol="1" spcCol="38100" rtlCol="0" anchor="ctr">
              <a:noAutofit/>
            </a:bodyPr>
            <a:lstStyle/>
            <a:p>
              <a:pPr algn="ctr" defTabSz="825500" hangingPunct="0"/>
              <a:r>
                <a:rPr lang="fr-FR" sz="500">
                  <a:solidFill>
                    <a:srgbClr val="5E5E5E"/>
                  </a:solidFill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rPr>
                <a:t>Faible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DEDD3D9-8D9F-4377-8E97-99B3A0CC439D}"/>
                </a:ext>
              </a:extLst>
            </p:cNvPr>
            <p:cNvSpPr/>
            <p:nvPr/>
          </p:nvSpPr>
          <p:spPr>
            <a:xfrm>
              <a:off x="11303811" y="3304247"/>
              <a:ext cx="321734" cy="143934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50800" rIns="0" bIns="50800" numCol="1" spcCol="38100" rtlCol="0" anchor="ctr">
              <a:noAutofit/>
            </a:bodyPr>
            <a:lstStyle/>
            <a:p>
              <a:pPr algn="ctr" defTabSz="825500" hangingPunct="0"/>
              <a:r>
                <a:rPr lang="fr-FR" sz="500">
                  <a:solidFill>
                    <a:srgbClr val="5E5E5E"/>
                  </a:solidFill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rPr>
                <a:t>Moyen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39334F8-7ED2-489F-88CA-F0A6FF6A4691}"/>
                </a:ext>
              </a:extLst>
            </p:cNvPr>
            <p:cNvSpPr/>
            <p:nvPr/>
          </p:nvSpPr>
          <p:spPr>
            <a:xfrm>
              <a:off x="11640212" y="3304247"/>
              <a:ext cx="321734" cy="143934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50800" rIns="0" bIns="50800" numCol="1" spcCol="38100" rtlCol="0" anchor="ctr">
              <a:noAutofit/>
            </a:bodyPr>
            <a:lstStyle/>
            <a:p>
              <a:pPr algn="ctr" defTabSz="825500" hangingPunct="0"/>
              <a:r>
                <a:rPr lang="fr-FR" sz="500">
                  <a:solidFill>
                    <a:srgbClr val="5E5E5E"/>
                  </a:solidFill>
                  <a:latin typeface="Arial" panose="020B0604020202020204" pitchFamily="34" charset="0"/>
                  <a:ea typeface="Jost Medium"/>
                  <a:cs typeface="Arial" panose="020B0604020202020204" pitchFamily="34" charset="0"/>
                  <a:sym typeface="Jost Medium"/>
                </a:rPr>
                <a:t>Fort</a:t>
              </a:r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7C099342-52BA-41A1-A689-04F96207A9B1}"/>
              </a:ext>
            </a:extLst>
          </p:cNvPr>
          <p:cNvSpPr/>
          <p:nvPr/>
        </p:nvSpPr>
        <p:spPr>
          <a:xfrm>
            <a:off x="10705328" y="3092709"/>
            <a:ext cx="1082583" cy="14393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ctr">
            <a:noAutofit/>
          </a:bodyPr>
          <a:lstStyle/>
          <a:p>
            <a:pPr defTabSz="825500" hangingPunct="0"/>
            <a:r>
              <a:rPr lang="fr-FR" sz="500" b="1">
                <a:solidFill>
                  <a:srgbClr val="5E5E5E"/>
                </a:solidFill>
                <a:latin typeface="Arial" panose="020B0604020202020204" pitchFamily="34" charset="0"/>
                <a:ea typeface="Jost Medium"/>
                <a:cs typeface="Arial" panose="020B0604020202020204" pitchFamily="34" charset="0"/>
                <a:sym typeface="Jost Medium"/>
              </a:rPr>
              <a:t>Accessibilité des standard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0E461BF-E828-4428-85ED-DBDB823CA10D}"/>
              </a:ext>
            </a:extLst>
          </p:cNvPr>
          <p:cNvSpPr/>
          <p:nvPr/>
        </p:nvSpPr>
        <p:spPr bwMode="auto">
          <a:xfrm>
            <a:off x="3456193" y="3202805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76" name="Rectangle: Rounded Corners 175">
            <a:extLst>
              <a:ext uri="{FF2B5EF4-FFF2-40B4-BE49-F238E27FC236}">
                <a16:creationId xmlns:a16="http://schemas.microsoft.com/office/drawing/2014/main" id="{C7731349-03BC-4170-9C12-6A52DB1D974B}"/>
              </a:ext>
            </a:extLst>
          </p:cNvPr>
          <p:cNvSpPr/>
          <p:nvPr/>
        </p:nvSpPr>
        <p:spPr bwMode="auto">
          <a:xfrm>
            <a:off x="3456193" y="3565154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77" name="Rectangle: Rounded Corners 176">
            <a:extLst>
              <a:ext uri="{FF2B5EF4-FFF2-40B4-BE49-F238E27FC236}">
                <a16:creationId xmlns:a16="http://schemas.microsoft.com/office/drawing/2014/main" id="{6376BDF8-081B-493F-89F6-CE7A03E301F1}"/>
              </a:ext>
            </a:extLst>
          </p:cNvPr>
          <p:cNvSpPr/>
          <p:nvPr/>
        </p:nvSpPr>
        <p:spPr bwMode="auto">
          <a:xfrm>
            <a:off x="3456193" y="3931291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78" name="Rectangle: Rounded Corners 177">
            <a:extLst>
              <a:ext uri="{FF2B5EF4-FFF2-40B4-BE49-F238E27FC236}">
                <a16:creationId xmlns:a16="http://schemas.microsoft.com/office/drawing/2014/main" id="{8CA355C1-D208-456B-B295-FD59B573B63A}"/>
              </a:ext>
            </a:extLst>
          </p:cNvPr>
          <p:cNvSpPr/>
          <p:nvPr/>
        </p:nvSpPr>
        <p:spPr bwMode="auto">
          <a:xfrm>
            <a:off x="3456193" y="4290882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E1821697-45F3-4C4B-BE09-B8C372D41A06}"/>
              </a:ext>
            </a:extLst>
          </p:cNvPr>
          <p:cNvSpPr/>
          <p:nvPr/>
        </p:nvSpPr>
        <p:spPr bwMode="auto">
          <a:xfrm>
            <a:off x="4880593" y="3931291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3" name="Rectangle: Rounded Corners 182">
            <a:extLst>
              <a:ext uri="{FF2B5EF4-FFF2-40B4-BE49-F238E27FC236}">
                <a16:creationId xmlns:a16="http://schemas.microsoft.com/office/drawing/2014/main" id="{DD957ED0-6CF8-440E-AEB4-5E77411E782D}"/>
              </a:ext>
            </a:extLst>
          </p:cNvPr>
          <p:cNvSpPr/>
          <p:nvPr/>
        </p:nvSpPr>
        <p:spPr bwMode="auto">
          <a:xfrm>
            <a:off x="6191949" y="3202805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D99338B3-43F3-47F2-B0B7-802910AF6097}"/>
              </a:ext>
            </a:extLst>
          </p:cNvPr>
          <p:cNvSpPr/>
          <p:nvPr/>
        </p:nvSpPr>
        <p:spPr bwMode="auto">
          <a:xfrm>
            <a:off x="6191949" y="3565154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1CB6A399-AE58-44A5-AB24-820ED98E8A83}"/>
              </a:ext>
            </a:extLst>
          </p:cNvPr>
          <p:cNvSpPr/>
          <p:nvPr/>
        </p:nvSpPr>
        <p:spPr bwMode="auto">
          <a:xfrm>
            <a:off x="6191949" y="3931291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7" name="Rectangle: Rounded Corners 186">
            <a:extLst>
              <a:ext uri="{FF2B5EF4-FFF2-40B4-BE49-F238E27FC236}">
                <a16:creationId xmlns:a16="http://schemas.microsoft.com/office/drawing/2014/main" id="{ABFE7FAD-7B01-42E6-B5E9-CB44D138E13E}"/>
              </a:ext>
            </a:extLst>
          </p:cNvPr>
          <p:cNvSpPr/>
          <p:nvPr/>
        </p:nvSpPr>
        <p:spPr bwMode="auto">
          <a:xfrm>
            <a:off x="6874874" y="3202805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8" name="Rectangle: Rounded Corners 187">
            <a:extLst>
              <a:ext uri="{FF2B5EF4-FFF2-40B4-BE49-F238E27FC236}">
                <a16:creationId xmlns:a16="http://schemas.microsoft.com/office/drawing/2014/main" id="{53E80BFD-38FC-482D-963D-52DE785A015B}"/>
              </a:ext>
            </a:extLst>
          </p:cNvPr>
          <p:cNvSpPr/>
          <p:nvPr/>
        </p:nvSpPr>
        <p:spPr bwMode="auto">
          <a:xfrm>
            <a:off x="6874874" y="3565154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62DFC794-8B6E-4BEB-9179-014F4A6DB4A3}"/>
              </a:ext>
            </a:extLst>
          </p:cNvPr>
          <p:cNvSpPr/>
          <p:nvPr/>
        </p:nvSpPr>
        <p:spPr bwMode="auto">
          <a:xfrm>
            <a:off x="6874874" y="3931291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91" name="Rectangle: Rounded Corners 190">
            <a:extLst>
              <a:ext uri="{FF2B5EF4-FFF2-40B4-BE49-F238E27FC236}">
                <a16:creationId xmlns:a16="http://schemas.microsoft.com/office/drawing/2014/main" id="{AFBC8B20-962F-44A8-B7BF-9C647D54CEB9}"/>
              </a:ext>
            </a:extLst>
          </p:cNvPr>
          <p:cNvSpPr/>
          <p:nvPr/>
        </p:nvSpPr>
        <p:spPr bwMode="auto">
          <a:xfrm>
            <a:off x="8876841" y="3202805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92" name="Rectangle: Rounded Corners 191">
            <a:extLst>
              <a:ext uri="{FF2B5EF4-FFF2-40B4-BE49-F238E27FC236}">
                <a16:creationId xmlns:a16="http://schemas.microsoft.com/office/drawing/2014/main" id="{77991114-16E3-4147-A6DC-F711A5A9EE1B}"/>
              </a:ext>
            </a:extLst>
          </p:cNvPr>
          <p:cNvSpPr/>
          <p:nvPr/>
        </p:nvSpPr>
        <p:spPr bwMode="auto">
          <a:xfrm>
            <a:off x="8876841" y="3565154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93" name="Rectangle: Rounded Corners 192">
            <a:extLst>
              <a:ext uri="{FF2B5EF4-FFF2-40B4-BE49-F238E27FC236}">
                <a16:creationId xmlns:a16="http://schemas.microsoft.com/office/drawing/2014/main" id="{3658356D-D61A-42F8-9432-45329E7B5C88}"/>
              </a:ext>
            </a:extLst>
          </p:cNvPr>
          <p:cNvSpPr/>
          <p:nvPr/>
        </p:nvSpPr>
        <p:spPr bwMode="auto">
          <a:xfrm>
            <a:off x="8876841" y="3931291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BC9D302-C84E-46C0-B925-C69C3E064D4E}"/>
              </a:ext>
            </a:extLst>
          </p:cNvPr>
          <p:cNvGrpSpPr/>
          <p:nvPr/>
        </p:nvGrpSpPr>
        <p:grpSpPr>
          <a:xfrm>
            <a:off x="3506399" y="3958630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C6CA1191-29E5-42FD-A303-DF432507D3B3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92DC7110-EAC0-4958-9509-9C96FBF1BD1C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1A47F7BE-565C-4D23-9EDC-B717E4243439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308F202A-A154-41CE-9FF7-2EAE41B96331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B80745C7-3C8E-461B-8BFD-3D33DBB5A2CD}"/>
              </a:ext>
            </a:extLst>
          </p:cNvPr>
          <p:cNvGrpSpPr/>
          <p:nvPr/>
        </p:nvGrpSpPr>
        <p:grpSpPr>
          <a:xfrm>
            <a:off x="4947274" y="3958630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07BB2535-6FAE-4359-B1D4-D5DC24036450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B11EF07F-6A53-43ED-9085-BB1A78FBBE95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17468669-8A9F-4B9F-AFD5-19794C241B62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776C9CEF-4B76-440B-8848-19487A015768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5B66469B-B632-4A5E-AE84-C7C02CFB0940}"/>
              </a:ext>
            </a:extLst>
          </p:cNvPr>
          <p:cNvGrpSpPr/>
          <p:nvPr/>
        </p:nvGrpSpPr>
        <p:grpSpPr>
          <a:xfrm>
            <a:off x="6247752" y="3958630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127" name="Rectangle: Rounded Corners 126">
              <a:extLst>
                <a:ext uri="{FF2B5EF4-FFF2-40B4-BE49-F238E27FC236}">
                  <a16:creationId xmlns:a16="http://schemas.microsoft.com/office/drawing/2014/main" id="{4985481F-89CF-4ED8-B648-9D0ACAE25300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28" name="Rectangle: Rounded Corners 127">
              <a:extLst>
                <a:ext uri="{FF2B5EF4-FFF2-40B4-BE49-F238E27FC236}">
                  <a16:creationId xmlns:a16="http://schemas.microsoft.com/office/drawing/2014/main" id="{26294E00-F097-4CE8-B4BF-00B43C85BF1C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29" name="Rectangle: Rounded Corners 128">
              <a:extLst>
                <a:ext uri="{FF2B5EF4-FFF2-40B4-BE49-F238E27FC236}">
                  <a16:creationId xmlns:a16="http://schemas.microsoft.com/office/drawing/2014/main" id="{5D6A07EB-90AB-4EA9-A3B9-C41E37098582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BB9695E0-DF03-409A-BAEA-0DCFAF971B79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7ED5C6A2-05CA-46E2-BBD2-3CFD4561735F}"/>
              </a:ext>
            </a:extLst>
          </p:cNvPr>
          <p:cNvGrpSpPr/>
          <p:nvPr/>
        </p:nvGrpSpPr>
        <p:grpSpPr>
          <a:xfrm>
            <a:off x="6928657" y="3958630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147" name="Rectangle: Rounded Corners 146">
              <a:extLst>
                <a:ext uri="{FF2B5EF4-FFF2-40B4-BE49-F238E27FC236}">
                  <a16:creationId xmlns:a16="http://schemas.microsoft.com/office/drawing/2014/main" id="{73DDAD05-571B-487C-9FDF-7837B4B54E77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48" name="Rectangle: Rounded Corners 147">
              <a:extLst>
                <a:ext uri="{FF2B5EF4-FFF2-40B4-BE49-F238E27FC236}">
                  <a16:creationId xmlns:a16="http://schemas.microsoft.com/office/drawing/2014/main" id="{BEF8E831-1194-403B-8A34-A7D536EFA217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315BFB41-4852-4B2B-ADBF-3A90F1B2DF71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50" name="Rectangle: Rounded Corners 149">
              <a:extLst>
                <a:ext uri="{FF2B5EF4-FFF2-40B4-BE49-F238E27FC236}">
                  <a16:creationId xmlns:a16="http://schemas.microsoft.com/office/drawing/2014/main" id="{CCE32097-9032-4FC2-92B1-BA8CCCBB7D47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6010203F-6847-4B41-8FA7-F32F0A20AD07}"/>
              </a:ext>
            </a:extLst>
          </p:cNvPr>
          <p:cNvGrpSpPr/>
          <p:nvPr/>
        </p:nvGrpSpPr>
        <p:grpSpPr>
          <a:xfrm>
            <a:off x="8930807" y="3958630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167" name="Rectangle: Rounded Corners 166">
              <a:extLst>
                <a:ext uri="{FF2B5EF4-FFF2-40B4-BE49-F238E27FC236}">
                  <a16:creationId xmlns:a16="http://schemas.microsoft.com/office/drawing/2014/main" id="{3363E741-8FCD-4B78-8FCE-5451A19696C0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68" name="Rectangle: Rounded Corners 167">
              <a:extLst>
                <a:ext uri="{FF2B5EF4-FFF2-40B4-BE49-F238E27FC236}">
                  <a16:creationId xmlns:a16="http://schemas.microsoft.com/office/drawing/2014/main" id="{DCF1DB0F-22F5-4378-AB29-05D3F4B2F2DD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69" name="Rectangle: Rounded Corners 168">
              <a:extLst>
                <a:ext uri="{FF2B5EF4-FFF2-40B4-BE49-F238E27FC236}">
                  <a16:creationId xmlns:a16="http://schemas.microsoft.com/office/drawing/2014/main" id="{7C1E7EE7-0872-4235-9C96-78374560528B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70" name="Rectangle: Rounded Corners 169">
              <a:extLst>
                <a:ext uri="{FF2B5EF4-FFF2-40B4-BE49-F238E27FC236}">
                  <a16:creationId xmlns:a16="http://schemas.microsoft.com/office/drawing/2014/main" id="{F2721848-69C1-4E51-A446-FAF087C65E18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cxnSp>
        <p:nvCxnSpPr>
          <p:cNvPr id="195" name="Connecteur droit 33">
            <a:extLst>
              <a:ext uri="{FF2B5EF4-FFF2-40B4-BE49-F238E27FC236}">
                <a16:creationId xmlns:a16="http://schemas.microsoft.com/office/drawing/2014/main" id="{82FE239E-1CEF-4EB2-89F6-5D8BE5403EF4}"/>
              </a:ext>
            </a:extLst>
          </p:cNvPr>
          <p:cNvCxnSpPr>
            <a:cxnSpLocks/>
          </p:cNvCxnSpPr>
          <p:nvPr/>
        </p:nvCxnSpPr>
        <p:spPr>
          <a:xfrm>
            <a:off x="0" y="5285808"/>
            <a:ext cx="1640796" cy="0"/>
          </a:xfrm>
          <a:prstGeom prst="line">
            <a:avLst/>
          </a:prstGeom>
          <a:ln w="571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3">
            <a:extLst>
              <a:ext uri="{FF2B5EF4-FFF2-40B4-BE49-F238E27FC236}">
                <a16:creationId xmlns:a16="http://schemas.microsoft.com/office/drawing/2014/main" id="{B22FDF31-5E23-46C7-829F-DDBF8C201707}"/>
              </a:ext>
            </a:extLst>
          </p:cNvPr>
          <p:cNvSpPr txBox="1"/>
          <p:nvPr/>
        </p:nvSpPr>
        <p:spPr>
          <a:xfrm>
            <a:off x="1702995" y="5468785"/>
            <a:ext cx="1814849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1 Standard</a:t>
            </a:r>
          </a:p>
          <a:p>
            <a:pPr algn="ctr"/>
            <a: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érimètre à finaliser</a:t>
            </a:r>
          </a:p>
          <a:p>
            <a:pPr algn="ctr"/>
            <a:r>
              <a:rPr lang="fr-FR" sz="1100" b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voiturage</a:t>
            </a:r>
          </a:p>
        </p:txBody>
      </p:sp>
      <p:cxnSp>
        <p:nvCxnSpPr>
          <p:cNvPr id="197" name="Connecteur droit 50">
            <a:extLst>
              <a:ext uri="{FF2B5EF4-FFF2-40B4-BE49-F238E27FC236}">
                <a16:creationId xmlns:a16="http://schemas.microsoft.com/office/drawing/2014/main" id="{9CFC3FC9-3247-4BE1-AA2B-B960F3B7E0C1}"/>
              </a:ext>
            </a:extLst>
          </p:cNvPr>
          <p:cNvCxnSpPr>
            <a:cxnSpLocks/>
          </p:cNvCxnSpPr>
          <p:nvPr/>
        </p:nvCxnSpPr>
        <p:spPr>
          <a:xfrm>
            <a:off x="1292440" y="5282158"/>
            <a:ext cx="10899560" cy="0"/>
          </a:xfrm>
          <a:prstGeom prst="line">
            <a:avLst/>
          </a:prstGeom>
          <a:ln w="571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Oval 18">
            <a:extLst>
              <a:ext uri="{FF2B5EF4-FFF2-40B4-BE49-F238E27FC236}">
                <a16:creationId xmlns:a16="http://schemas.microsoft.com/office/drawing/2014/main" id="{DDA4BFAF-8C6D-4880-BB51-6DDBDCCD5631}"/>
              </a:ext>
            </a:extLst>
          </p:cNvPr>
          <p:cNvSpPr/>
          <p:nvPr/>
        </p:nvSpPr>
        <p:spPr>
          <a:xfrm>
            <a:off x="750674" y="5091599"/>
            <a:ext cx="394187" cy="388418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99" name="Oval 107">
            <a:extLst>
              <a:ext uri="{FF2B5EF4-FFF2-40B4-BE49-F238E27FC236}">
                <a16:creationId xmlns:a16="http://schemas.microsoft.com/office/drawing/2014/main" id="{DF277E4A-ED85-4C00-99F4-8984F3EABD64}"/>
              </a:ext>
            </a:extLst>
          </p:cNvPr>
          <p:cNvSpPr/>
          <p:nvPr/>
        </p:nvSpPr>
        <p:spPr>
          <a:xfrm>
            <a:off x="2413326" y="5091599"/>
            <a:ext cx="394187" cy="38841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EBBC2E8B-5813-49B1-878E-30B5867864FD}"/>
              </a:ext>
            </a:extLst>
          </p:cNvPr>
          <p:cNvSpPr/>
          <p:nvPr/>
        </p:nvSpPr>
        <p:spPr>
          <a:xfrm>
            <a:off x="137270" y="4786257"/>
            <a:ext cx="1620992" cy="2451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Aujourd’hui</a:t>
            </a:r>
          </a:p>
        </p:txBody>
      </p: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CC442014-65AA-43E0-BFB6-DCFACA25A6EA}"/>
              </a:ext>
            </a:extLst>
          </p:cNvPr>
          <p:cNvCxnSpPr/>
          <p:nvPr/>
        </p:nvCxnSpPr>
        <p:spPr>
          <a:xfrm>
            <a:off x="4369548" y="5031403"/>
            <a:ext cx="0" cy="250754"/>
          </a:xfrm>
          <a:prstGeom prst="line">
            <a:avLst/>
          </a:prstGeom>
          <a:noFill/>
          <a:ln w="254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2" name="TextBox 3">
            <a:extLst>
              <a:ext uri="{FF2B5EF4-FFF2-40B4-BE49-F238E27FC236}">
                <a16:creationId xmlns:a16="http://schemas.microsoft.com/office/drawing/2014/main" id="{8723FDFE-D304-4660-83E1-2D82A8389A09}"/>
              </a:ext>
            </a:extLst>
          </p:cNvPr>
          <p:cNvSpPr txBox="1"/>
          <p:nvPr/>
        </p:nvSpPr>
        <p:spPr>
          <a:xfrm>
            <a:off x="3462124" y="4808798"/>
            <a:ext cx="18148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fr-FR" sz="1000" b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1 2022</a:t>
            </a:r>
          </a:p>
        </p:txBody>
      </p:sp>
      <p:sp>
        <p:nvSpPr>
          <p:cNvPr id="203" name="TextBox 3">
            <a:extLst>
              <a:ext uri="{FF2B5EF4-FFF2-40B4-BE49-F238E27FC236}">
                <a16:creationId xmlns:a16="http://schemas.microsoft.com/office/drawing/2014/main" id="{D0E5B4BD-9664-4B1E-A703-62D950CB3481}"/>
              </a:ext>
            </a:extLst>
          </p:cNvPr>
          <p:cNvSpPr txBox="1"/>
          <p:nvPr/>
        </p:nvSpPr>
        <p:spPr>
          <a:xfrm>
            <a:off x="2935341" y="5463928"/>
            <a:ext cx="1814849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0 Standard</a:t>
            </a:r>
          </a:p>
          <a:p>
            <a:pPr algn="ctr"/>
            <a: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érimètre à finaliser</a:t>
            </a:r>
          </a:p>
          <a:p>
            <a:pPr algn="ctr"/>
            <a:r>
              <a:rPr lang="fr-FR" sz="1100" b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charge VE</a:t>
            </a:r>
          </a:p>
        </p:txBody>
      </p:sp>
      <p:sp>
        <p:nvSpPr>
          <p:cNvPr id="204" name="Oval 107">
            <a:extLst>
              <a:ext uri="{FF2B5EF4-FFF2-40B4-BE49-F238E27FC236}">
                <a16:creationId xmlns:a16="http://schemas.microsoft.com/office/drawing/2014/main" id="{BCC5112D-C796-4BE2-86A0-ECEE89A20EEB}"/>
              </a:ext>
            </a:extLst>
          </p:cNvPr>
          <p:cNvSpPr/>
          <p:nvPr/>
        </p:nvSpPr>
        <p:spPr>
          <a:xfrm>
            <a:off x="3597629" y="5086742"/>
            <a:ext cx="394187" cy="38841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EF957148-88BD-4442-B847-582D2CC89333}"/>
              </a:ext>
            </a:extLst>
          </p:cNvPr>
          <p:cNvCxnSpPr/>
          <p:nvPr/>
        </p:nvCxnSpPr>
        <p:spPr>
          <a:xfrm>
            <a:off x="9568464" y="5039619"/>
            <a:ext cx="0" cy="250754"/>
          </a:xfrm>
          <a:prstGeom prst="line">
            <a:avLst/>
          </a:prstGeom>
          <a:noFill/>
          <a:ln w="254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6" name="TextBox 3">
            <a:extLst>
              <a:ext uri="{FF2B5EF4-FFF2-40B4-BE49-F238E27FC236}">
                <a16:creationId xmlns:a16="http://schemas.microsoft.com/office/drawing/2014/main" id="{A70814C4-3995-4816-8CEC-0959478D68FE}"/>
              </a:ext>
            </a:extLst>
          </p:cNvPr>
          <p:cNvSpPr txBox="1"/>
          <p:nvPr/>
        </p:nvSpPr>
        <p:spPr>
          <a:xfrm>
            <a:off x="561272" y="5472144"/>
            <a:ext cx="1814849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0 Standard</a:t>
            </a:r>
            <a:b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éservation et achat </a:t>
            </a:r>
          </a:p>
          <a:p>
            <a:pPr algn="ctr"/>
            <a:r>
              <a:rPr lang="fr-FR" sz="1100" b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ationnement</a:t>
            </a:r>
          </a:p>
        </p:txBody>
      </p:sp>
      <p:sp>
        <p:nvSpPr>
          <p:cNvPr id="207" name="Oval 107">
            <a:extLst>
              <a:ext uri="{FF2B5EF4-FFF2-40B4-BE49-F238E27FC236}">
                <a16:creationId xmlns:a16="http://schemas.microsoft.com/office/drawing/2014/main" id="{9B4C8F67-EB43-4EC4-8DE7-C092094F920B}"/>
              </a:ext>
            </a:extLst>
          </p:cNvPr>
          <p:cNvSpPr/>
          <p:nvPr/>
        </p:nvSpPr>
        <p:spPr>
          <a:xfrm>
            <a:off x="1296260" y="5094958"/>
            <a:ext cx="394187" cy="38841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08" name="TextBox 3">
            <a:extLst>
              <a:ext uri="{FF2B5EF4-FFF2-40B4-BE49-F238E27FC236}">
                <a16:creationId xmlns:a16="http://schemas.microsoft.com/office/drawing/2014/main" id="{9D45E24F-3E90-4432-9DAF-24CFC804B980}"/>
              </a:ext>
            </a:extLst>
          </p:cNvPr>
          <p:cNvSpPr txBox="1"/>
          <p:nvPr/>
        </p:nvSpPr>
        <p:spPr>
          <a:xfrm>
            <a:off x="8612438" y="4786256"/>
            <a:ext cx="18148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fr-FR" sz="1000" b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4 2022</a:t>
            </a:r>
          </a:p>
        </p:txBody>
      </p:sp>
      <p:sp>
        <p:nvSpPr>
          <p:cNvPr id="209" name="TextBox 3">
            <a:extLst>
              <a:ext uri="{FF2B5EF4-FFF2-40B4-BE49-F238E27FC236}">
                <a16:creationId xmlns:a16="http://schemas.microsoft.com/office/drawing/2014/main" id="{1D0308BB-D26F-4916-A1BD-B27F547AA1E8}"/>
              </a:ext>
            </a:extLst>
          </p:cNvPr>
          <p:cNvSpPr txBox="1"/>
          <p:nvPr/>
        </p:nvSpPr>
        <p:spPr>
          <a:xfrm>
            <a:off x="5868438" y="5460393"/>
            <a:ext cx="1814849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0 Standard</a:t>
            </a:r>
          </a:p>
          <a:p>
            <a:pPr algn="ctr"/>
            <a: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éservation et achat </a:t>
            </a:r>
            <a:br>
              <a:rPr lang="fr-FR" sz="10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lang="fr-FR" sz="1100" b="1" err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reefloating</a:t>
            </a:r>
            <a:endParaRPr lang="fr-FR" sz="1100" b="1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10" name="Oval 107">
            <a:extLst>
              <a:ext uri="{FF2B5EF4-FFF2-40B4-BE49-F238E27FC236}">
                <a16:creationId xmlns:a16="http://schemas.microsoft.com/office/drawing/2014/main" id="{03363BB3-8ECF-4190-87BF-40D9661A138B}"/>
              </a:ext>
            </a:extLst>
          </p:cNvPr>
          <p:cNvSpPr/>
          <p:nvPr/>
        </p:nvSpPr>
        <p:spPr>
          <a:xfrm>
            <a:off x="6578769" y="5083207"/>
            <a:ext cx="394187" cy="38841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11" name="Rectangle: Rounded Corners 210">
            <a:extLst>
              <a:ext uri="{FF2B5EF4-FFF2-40B4-BE49-F238E27FC236}">
                <a16:creationId xmlns:a16="http://schemas.microsoft.com/office/drawing/2014/main" id="{D93EBEDB-084E-4B75-A522-4DC28954EC39}"/>
              </a:ext>
            </a:extLst>
          </p:cNvPr>
          <p:cNvSpPr/>
          <p:nvPr/>
        </p:nvSpPr>
        <p:spPr bwMode="auto">
          <a:xfrm>
            <a:off x="8876841" y="4280575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706EF27E-58CE-44FE-84F8-8756EE5418E7}"/>
              </a:ext>
            </a:extLst>
          </p:cNvPr>
          <p:cNvGrpSpPr/>
          <p:nvPr/>
        </p:nvGrpSpPr>
        <p:grpSpPr>
          <a:xfrm>
            <a:off x="8930807" y="4307914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13" name="Rectangle: Rounded Corners 212">
              <a:extLst>
                <a:ext uri="{FF2B5EF4-FFF2-40B4-BE49-F238E27FC236}">
                  <a16:creationId xmlns:a16="http://schemas.microsoft.com/office/drawing/2014/main" id="{22F96D12-EA6D-4B13-A9D4-AEF52DCFF484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14" name="Rectangle: Rounded Corners 213">
              <a:extLst>
                <a:ext uri="{FF2B5EF4-FFF2-40B4-BE49-F238E27FC236}">
                  <a16:creationId xmlns:a16="http://schemas.microsoft.com/office/drawing/2014/main" id="{A1AB36FB-42DE-44A9-92B4-EE8F04D1B230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15" name="Rectangle: Rounded Corners 214">
              <a:extLst>
                <a:ext uri="{FF2B5EF4-FFF2-40B4-BE49-F238E27FC236}">
                  <a16:creationId xmlns:a16="http://schemas.microsoft.com/office/drawing/2014/main" id="{0B560974-742B-4D1F-AB16-91D36F18F095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16" name="Rectangle: Rounded Corners 215">
              <a:extLst>
                <a:ext uri="{FF2B5EF4-FFF2-40B4-BE49-F238E27FC236}">
                  <a16:creationId xmlns:a16="http://schemas.microsoft.com/office/drawing/2014/main" id="{B781EDF9-4CA6-4E35-B282-ABCB91257ABE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D347EA02-A493-4F49-BC25-527D0BC984CD}"/>
              </a:ext>
            </a:extLst>
          </p:cNvPr>
          <p:cNvGrpSpPr/>
          <p:nvPr/>
        </p:nvGrpSpPr>
        <p:grpSpPr>
          <a:xfrm>
            <a:off x="8938446" y="3592897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19" name="Rectangle: Rounded Corners 218">
              <a:extLst>
                <a:ext uri="{FF2B5EF4-FFF2-40B4-BE49-F238E27FC236}">
                  <a16:creationId xmlns:a16="http://schemas.microsoft.com/office/drawing/2014/main" id="{24F105FF-5E0D-45A0-A78B-79AF523BFD2B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FAD637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20" name="Rectangle: Rounded Corners 219">
              <a:extLst>
                <a:ext uri="{FF2B5EF4-FFF2-40B4-BE49-F238E27FC236}">
                  <a16:creationId xmlns:a16="http://schemas.microsoft.com/office/drawing/2014/main" id="{68060CD8-C5CC-4C84-9933-5A2A83E250EF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rgbClr val="FAD637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B5EAA2E8-B6D4-411D-8545-E00D45336FB8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22" name="Rectangle: Rounded Corners 221">
              <a:extLst>
                <a:ext uri="{FF2B5EF4-FFF2-40B4-BE49-F238E27FC236}">
                  <a16:creationId xmlns:a16="http://schemas.microsoft.com/office/drawing/2014/main" id="{A605B370-4090-4A0E-88A3-E142BC66C922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3180E5EB-3F72-4260-8CEB-136F972F2347}"/>
              </a:ext>
            </a:extLst>
          </p:cNvPr>
          <p:cNvGrpSpPr/>
          <p:nvPr/>
        </p:nvGrpSpPr>
        <p:grpSpPr>
          <a:xfrm>
            <a:off x="8930807" y="3227849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24" name="Rectangle: Rounded Corners 223">
              <a:extLst>
                <a:ext uri="{FF2B5EF4-FFF2-40B4-BE49-F238E27FC236}">
                  <a16:creationId xmlns:a16="http://schemas.microsoft.com/office/drawing/2014/main" id="{6ADB1740-7684-47A7-BC45-698EDE7D6900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25" name="Rectangle: Rounded Corners 224">
              <a:extLst>
                <a:ext uri="{FF2B5EF4-FFF2-40B4-BE49-F238E27FC236}">
                  <a16:creationId xmlns:a16="http://schemas.microsoft.com/office/drawing/2014/main" id="{4C4D37C8-B3BB-444B-8EA4-4A0AA4F6A167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26" name="Rectangle: Rounded Corners 225">
              <a:extLst>
                <a:ext uri="{FF2B5EF4-FFF2-40B4-BE49-F238E27FC236}">
                  <a16:creationId xmlns:a16="http://schemas.microsoft.com/office/drawing/2014/main" id="{79BC8167-66EC-4A78-8604-41411AE8B865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27" name="Rectangle: Rounded Corners 226">
              <a:extLst>
                <a:ext uri="{FF2B5EF4-FFF2-40B4-BE49-F238E27FC236}">
                  <a16:creationId xmlns:a16="http://schemas.microsoft.com/office/drawing/2014/main" id="{712609CB-EB18-487F-8E3D-EEF01F5B7C5C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sp>
        <p:nvSpPr>
          <p:cNvPr id="228" name="Rectangle: Rounded Corners 227">
            <a:extLst>
              <a:ext uri="{FF2B5EF4-FFF2-40B4-BE49-F238E27FC236}">
                <a16:creationId xmlns:a16="http://schemas.microsoft.com/office/drawing/2014/main" id="{1F7BB115-3D5B-4FF5-A69E-567A1E781AEC}"/>
              </a:ext>
            </a:extLst>
          </p:cNvPr>
          <p:cNvSpPr/>
          <p:nvPr/>
        </p:nvSpPr>
        <p:spPr bwMode="auto">
          <a:xfrm>
            <a:off x="6191949" y="4291892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29" name="Rectangle: Rounded Corners 228">
            <a:extLst>
              <a:ext uri="{FF2B5EF4-FFF2-40B4-BE49-F238E27FC236}">
                <a16:creationId xmlns:a16="http://schemas.microsoft.com/office/drawing/2014/main" id="{C2FB58E1-A8A0-4126-BE81-646D95484C86}"/>
              </a:ext>
            </a:extLst>
          </p:cNvPr>
          <p:cNvSpPr/>
          <p:nvPr/>
        </p:nvSpPr>
        <p:spPr bwMode="auto">
          <a:xfrm>
            <a:off x="6874874" y="4291892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2F9CCF87-154A-4A61-A9F5-8E075AE45516}"/>
              </a:ext>
            </a:extLst>
          </p:cNvPr>
          <p:cNvGrpSpPr/>
          <p:nvPr/>
        </p:nvGrpSpPr>
        <p:grpSpPr>
          <a:xfrm>
            <a:off x="6247752" y="4319231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31" name="Rectangle: Rounded Corners 230">
              <a:extLst>
                <a:ext uri="{FF2B5EF4-FFF2-40B4-BE49-F238E27FC236}">
                  <a16:creationId xmlns:a16="http://schemas.microsoft.com/office/drawing/2014/main" id="{FF80938D-31EC-4D02-9524-548EA526BF0D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32" name="Rectangle: Rounded Corners 231">
              <a:extLst>
                <a:ext uri="{FF2B5EF4-FFF2-40B4-BE49-F238E27FC236}">
                  <a16:creationId xmlns:a16="http://schemas.microsoft.com/office/drawing/2014/main" id="{EB4B8348-58E2-4565-AE4D-8BFD335DDAA1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33" name="Rectangle: Rounded Corners 232">
              <a:extLst>
                <a:ext uri="{FF2B5EF4-FFF2-40B4-BE49-F238E27FC236}">
                  <a16:creationId xmlns:a16="http://schemas.microsoft.com/office/drawing/2014/main" id="{0F09A3F7-5390-4CF8-8228-C6511A5C6AD8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34" name="Rectangle: Rounded Corners 233">
              <a:extLst>
                <a:ext uri="{FF2B5EF4-FFF2-40B4-BE49-F238E27FC236}">
                  <a16:creationId xmlns:a16="http://schemas.microsoft.com/office/drawing/2014/main" id="{673E837D-9423-4676-A9AC-5597AAE64F0F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3C978235-8C83-40F7-AB83-C1AA624B2C79}"/>
              </a:ext>
            </a:extLst>
          </p:cNvPr>
          <p:cNvGrpSpPr/>
          <p:nvPr/>
        </p:nvGrpSpPr>
        <p:grpSpPr>
          <a:xfrm>
            <a:off x="6928657" y="4319231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36" name="Rectangle: Rounded Corners 235">
              <a:extLst>
                <a:ext uri="{FF2B5EF4-FFF2-40B4-BE49-F238E27FC236}">
                  <a16:creationId xmlns:a16="http://schemas.microsoft.com/office/drawing/2014/main" id="{0755175B-11DB-4749-98DB-8D0F7CBB9776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37" name="Rectangle: Rounded Corners 236">
              <a:extLst>
                <a:ext uri="{FF2B5EF4-FFF2-40B4-BE49-F238E27FC236}">
                  <a16:creationId xmlns:a16="http://schemas.microsoft.com/office/drawing/2014/main" id="{D257A873-1221-4A9D-A244-3BD34EE7CC20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38" name="Rectangle: Rounded Corners 237">
              <a:extLst>
                <a:ext uri="{FF2B5EF4-FFF2-40B4-BE49-F238E27FC236}">
                  <a16:creationId xmlns:a16="http://schemas.microsoft.com/office/drawing/2014/main" id="{2B39BF40-F395-41ED-B3DF-22914FF71E2C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39" name="Rectangle: Rounded Corners 238">
              <a:extLst>
                <a:ext uri="{FF2B5EF4-FFF2-40B4-BE49-F238E27FC236}">
                  <a16:creationId xmlns:a16="http://schemas.microsoft.com/office/drawing/2014/main" id="{F06CFD83-2913-4ED5-9D67-5B07A0BE8BD6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DF1AFBBB-4067-4376-BA66-C4DE8D999898}"/>
              </a:ext>
            </a:extLst>
          </p:cNvPr>
          <p:cNvGrpSpPr/>
          <p:nvPr/>
        </p:nvGrpSpPr>
        <p:grpSpPr>
          <a:xfrm>
            <a:off x="6930771" y="3589601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41" name="Rectangle: Rounded Corners 240">
              <a:extLst>
                <a:ext uri="{FF2B5EF4-FFF2-40B4-BE49-F238E27FC236}">
                  <a16:creationId xmlns:a16="http://schemas.microsoft.com/office/drawing/2014/main" id="{FA71EB96-00F2-4A82-BEC7-7F1E38021CFC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FAD637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B519FD7A-3088-4269-B5D0-307390876D50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rgbClr val="FAD637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43" name="Rectangle: Rounded Corners 242">
              <a:extLst>
                <a:ext uri="{FF2B5EF4-FFF2-40B4-BE49-F238E27FC236}">
                  <a16:creationId xmlns:a16="http://schemas.microsoft.com/office/drawing/2014/main" id="{3AD11180-184B-4D17-A191-A49F99E1987F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44" name="Rectangle: Rounded Corners 243">
              <a:extLst>
                <a:ext uri="{FF2B5EF4-FFF2-40B4-BE49-F238E27FC236}">
                  <a16:creationId xmlns:a16="http://schemas.microsoft.com/office/drawing/2014/main" id="{E14D5415-0332-4CDD-BADE-3059D635444C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F14455BE-73C4-4514-ADBD-F6E473B5E224}"/>
              </a:ext>
            </a:extLst>
          </p:cNvPr>
          <p:cNvGrpSpPr/>
          <p:nvPr/>
        </p:nvGrpSpPr>
        <p:grpSpPr>
          <a:xfrm>
            <a:off x="6241098" y="3589601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46" name="Rectangle: Rounded Corners 245">
              <a:extLst>
                <a:ext uri="{FF2B5EF4-FFF2-40B4-BE49-F238E27FC236}">
                  <a16:creationId xmlns:a16="http://schemas.microsoft.com/office/drawing/2014/main" id="{305AC2E0-628B-4070-A4A8-E511D52AA3D9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FAD637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47" name="Rectangle: Rounded Corners 246">
              <a:extLst>
                <a:ext uri="{FF2B5EF4-FFF2-40B4-BE49-F238E27FC236}">
                  <a16:creationId xmlns:a16="http://schemas.microsoft.com/office/drawing/2014/main" id="{8F4A8C35-B669-429C-8E62-4F84F94ABBBE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rgbClr val="FAD637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48" name="Rectangle: Rounded Corners 247">
              <a:extLst>
                <a:ext uri="{FF2B5EF4-FFF2-40B4-BE49-F238E27FC236}">
                  <a16:creationId xmlns:a16="http://schemas.microsoft.com/office/drawing/2014/main" id="{0E8300E8-11DF-412D-923B-2A9ECD7B6C8D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49" name="Rectangle: Rounded Corners 248">
              <a:extLst>
                <a:ext uri="{FF2B5EF4-FFF2-40B4-BE49-F238E27FC236}">
                  <a16:creationId xmlns:a16="http://schemas.microsoft.com/office/drawing/2014/main" id="{EE943F44-24F4-4D1F-8D66-C66943F8CC4E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F196D399-053D-42E4-A1CA-DBE592F61BE8}"/>
              </a:ext>
            </a:extLst>
          </p:cNvPr>
          <p:cNvGrpSpPr/>
          <p:nvPr/>
        </p:nvGrpSpPr>
        <p:grpSpPr>
          <a:xfrm>
            <a:off x="6930771" y="3227849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51" name="Rectangle: Rounded Corners 250">
              <a:extLst>
                <a:ext uri="{FF2B5EF4-FFF2-40B4-BE49-F238E27FC236}">
                  <a16:creationId xmlns:a16="http://schemas.microsoft.com/office/drawing/2014/main" id="{39339E09-221C-4912-8A86-2ED2494CFF91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52" name="Rectangle: Rounded Corners 251">
              <a:extLst>
                <a:ext uri="{FF2B5EF4-FFF2-40B4-BE49-F238E27FC236}">
                  <a16:creationId xmlns:a16="http://schemas.microsoft.com/office/drawing/2014/main" id="{02AADCBF-95BA-403A-A4B0-313196492D60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53" name="Rectangle: Rounded Corners 252">
              <a:extLst>
                <a:ext uri="{FF2B5EF4-FFF2-40B4-BE49-F238E27FC236}">
                  <a16:creationId xmlns:a16="http://schemas.microsoft.com/office/drawing/2014/main" id="{1DC1DA3B-F388-4DB4-8BCD-CDE2CE205900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54" name="Rectangle: Rounded Corners 253">
              <a:extLst>
                <a:ext uri="{FF2B5EF4-FFF2-40B4-BE49-F238E27FC236}">
                  <a16:creationId xmlns:a16="http://schemas.microsoft.com/office/drawing/2014/main" id="{6ADA1A76-2C49-4D69-9213-2D16F06F74BC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5799AA22-BE6E-4980-ACE4-BD3ABCBDA1BC}"/>
              </a:ext>
            </a:extLst>
          </p:cNvPr>
          <p:cNvGrpSpPr/>
          <p:nvPr/>
        </p:nvGrpSpPr>
        <p:grpSpPr>
          <a:xfrm>
            <a:off x="6254961" y="3227849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56" name="Rectangle: Rounded Corners 255">
              <a:extLst>
                <a:ext uri="{FF2B5EF4-FFF2-40B4-BE49-F238E27FC236}">
                  <a16:creationId xmlns:a16="http://schemas.microsoft.com/office/drawing/2014/main" id="{75720EF3-34E1-4EAB-9C3B-5299D8EB7475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57" name="Rectangle: Rounded Corners 256">
              <a:extLst>
                <a:ext uri="{FF2B5EF4-FFF2-40B4-BE49-F238E27FC236}">
                  <a16:creationId xmlns:a16="http://schemas.microsoft.com/office/drawing/2014/main" id="{4DC0852C-452B-4511-B406-F1605ECDA87B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58" name="Rectangle: Rounded Corners 257">
              <a:extLst>
                <a:ext uri="{FF2B5EF4-FFF2-40B4-BE49-F238E27FC236}">
                  <a16:creationId xmlns:a16="http://schemas.microsoft.com/office/drawing/2014/main" id="{EE542564-079D-48F7-812C-2CFDBA3E3E38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59" name="Rectangle: Rounded Corners 258">
              <a:extLst>
                <a:ext uri="{FF2B5EF4-FFF2-40B4-BE49-F238E27FC236}">
                  <a16:creationId xmlns:a16="http://schemas.microsoft.com/office/drawing/2014/main" id="{7FB36339-9114-48F5-BB11-F15B63878034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74A04558-B6F1-4162-BE78-5665A907C0BB}"/>
              </a:ext>
            </a:extLst>
          </p:cNvPr>
          <p:cNvGrpSpPr/>
          <p:nvPr/>
        </p:nvGrpSpPr>
        <p:grpSpPr>
          <a:xfrm>
            <a:off x="3506399" y="4307914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61" name="Rectangle: Rounded Corners 260">
              <a:extLst>
                <a:ext uri="{FF2B5EF4-FFF2-40B4-BE49-F238E27FC236}">
                  <a16:creationId xmlns:a16="http://schemas.microsoft.com/office/drawing/2014/main" id="{8EF82CD1-B1D2-4762-89EF-362FA289B517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62" name="Rectangle: Rounded Corners 261">
              <a:extLst>
                <a:ext uri="{FF2B5EF4-FFF2-40B4-BE49-F238E27FC236}">
                  <a16:creationId xmlns:a16="http://schemas.microsoft.com/office/drawing/2014/main" id="{E19D1CE5-466A-4E44-B9AC-DFC362F4A15B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63" name="Rectangle: Rounded Corners 262">
              <a:extLst>
                <a:ext uri="{FF2B5EF4-FFF2-40B4-BE49-F238E27FC236}">
                  <a16:creationId xmlns:a16="http://schemas.microsoft.com/office/drawing/2014/main" id="{AF9B265F-8211-4044-8777-2A9C8E173DE5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64" name="Rectangle: Rounded Corners 263">
              <a:extLst>
                <a:ext uri="{FF2B5EF4-FFF2-40B4-BE49-F238E27FC236}">
                  <a16:creationId xmlns:a16="http://schemas.microsoft.com/office/drawing/2014/main" id="{0D45AE8F-095E-4A06-A7AE-85CE06D79D81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F5249D43-65D5-4DC9-8AF1-1B69D83303D3}"/>
              </a:ext>
            </a:extLst>
          </p:cNvPr>
          <p:cNvGrpSpPr/>
          <p:nvPr/>
        </p:nvGrpSpPr>
        <p:grpSpPr>
          <a:xfrm>
            <a:off x="3517843" y="3592897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66" name="Rectangle: Rounded Corners 265">
              <a:extLst>
                <a:ext uri="{FF2B5EF4-FFF2-40B4-BE49-F238E27FC236}">
                  <a16:creationId xmlns:a16="http://schemas.microsoft.com/office/drawing/2014/main" id="{17DA4DF2-7636-41B1-ACAF-0EAD21362CBC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rgbClr val="FAD637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67" name="Rectangle: Rounded Corners 266">
              <a:extLst>
                <a:ext uri="{FF2B5EF4-FFF2-40B4-BE49-F238E27FC236}">
                  <a16:creationId xmlns:a16="http://schemas.microsoft.com/office/drawing/2014/main" id="{5DDA6557-0396-4602-9E15-0485B9F85477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rgbClr val="FAD637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68" name="Rectangle: Rounded Corners 267">
              <a:extLst>
                <a:ext uri="{FF2B5EF4-FFF2-40B4-BE49-F238E27FC236}">
                  <a16:creationId xmlns:a16="http://schemas.microsoft.com/office/drawing/2014/main" id="{50A6B36B-E448-4E34-8C05-D5351FF755CC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69" name="Rectangle: Rounded Corners 268">
              <a:extLst>
                <a:ext uri="{FF2B5EF4-FFF2-40B4-BE49-F238E27FC236}">
                  <a16:creationId xmlns:a16="http://schemas.microsoft.com/office/drawing/2014/main" id="{20E7ACFB-5B9C-414E-B27F-63CBA80CD5F4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grpSp>
        <p:nvGrpSpPr>
          <p:cNvPr id="270" name="Group 269">
            <a:extLst>
              <a:ext uri="{FF2B5EF4-FFF2-40B4-BE49-F238E27FC236}">
                <a16:creationId xmlns:a16="http://schemas.microsoft.com/office/drawing/2014/main" id="{E4B70579-918A-4814-A1ED-5098B901CD78}"/>
              </a:ext>
            </a:extLst>
          </p:cNvPr>
          <p:cNvGrpSpPr/>
          <p:nvPr/>
        </p:nvGrpSpPr>
        <p:grpSpPr>
          <a:xfrm>
            <a:off x="3521851" y="3227849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71" name="Rectangle: Rounded Corners 270">
              <a:extLst>
                <a:ext uri="{FF2B5EF4-FFF2-40B4-BE49-F238E27FC236}">
                  <a16:creationId xmlns:a16="http://schemas.microsoft.com/office/drawing/2014/main" id="{FFBE92B2-4D4F-4C43-B39E-93A0E47E8E80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72" name="Rectangle: Rounded Corners 271">
              <a:extLst>
                <a:ext uri="{FF2B5EF4-FFF2-40B4-BE49-F238E27FC236}">
                  <a16:creationId xmlns:a16="http://schemas.microsoft.com/office/drawing/2014/main" id="{C87BBBFD-F8BE-448D-BE99-CD300511A374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73" name="Rectangle: Rounded Corners 272">
              <a:extLst>
                <a:ext uri="{FF2B5EF4-FFF2-40B4-BE49-F238E27FC236}">
                  <a16:creationId xmlns:a16="http://schemas.microsoft.com/office/drawing/2014/main" id="{E4DDD53A-1E62-4B50-878C-5B76870DC841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74" name="Rectangle: Rounded Corners 273">
              <a:extLst>
                <a:ext uri="{FF2B5EF4-FFF2-40B4-BE49-F238E27FC236}">
                  <a16:creationId xmlns:a16="http://schemas.microsoft.com/office/drawing/2014/main" id="{6B526108-313E-4186-8AE5-6472594AF5D0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8235C1D7-54B6-42B4-9876-6132EB76DC08}"/>
              </a:ext>
            </a:extLst>
          </p:cNvPr>
          <p:cNvCxnSpPr/>
          <p:nvPr/>
        </p:nvCxnSpPr>
        <p:spPr>
          <a:xfrm>
            <a:off x="5870950" y="5031403"/>
            <a:ext cx="0" cy="250754"/>
          </a:xfrm>
          <a:prstGeom prst="line">
            <a:avLst/>
          </a:prstGeom>
          <a:noFill/>
          <a:ln w="254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5" name="TextBox 3">
            <a:extLst>
              <a:ext uri="{FF2B5EF4-FFF2-40B4-BE49-F238E27FC236}">
                <a16:creationId xmlns:a16="http://schemas.microsoft.com/office/drawing/2014/main" id="{84EDAD84-0FCC-4874-BD73-D1DF14CAE6F5}"/>
              </a:ext>
            </a:extLst>
          </p:cNvPr>
          <p:cNvSpPr txBox="1"/>
          <p:nvPr/>
        </p:nvSpPr>
        <p:spPr>
          <a:xfrm>
            <a:off x="4963526" y="4808798"/>
            <a:ext cx="18148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fr-FR" sz="1000" b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2 2022</a:t>
            </a:r>
          </a:p>
        </p:txBody>
      </p: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4A6E8C3A-0704-4841-8C47-A7825AACF671}"/>
              </a:ext>
            </a:extLst>
          </p:cNvPr>
          <p:cNvCxnSpPr/>
          <p:nvPr/>
        </p:nvCxnSpPr>
        <p:spPr>
          <a:xfrm>
            <a:off x="7683287" y="5031403"/>
            <a:ext cx="0" cy="250754"/>
          </a:xfrm>
          <a:prstGeom prst="line">
            <a:avLst/>
          </a:prstGeom>
          <a:noFill/>
          <a:ln w="254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7" name="TextBox 3">
            <a:extLst>
              <a:ext uri="{FF2B5EF4-FFF2-40B4-BE49-F238E27FC236}">
                <a16:creationId xmlns:a16="http://schemas.microsoft.com/office/drawing/2014/main" id="{4B8E85A3-913D-4196-94CD-5F0904226113}"/>
              </a:ext>
            </a:extLst>
          </p:cNvPr>
          <p:cNvSpPr txBox="1"/>
          <p:nvPr/>
        </p:nvSpPr>
        <p:spPr>
          <a:xfrm>
            <a:off x="6775863" y="4808798"/>
            <a:ext cx="18148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fr-FR" sz="1000" b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3 2022</a:t>
            </a:r>
          </a:p>
        </p:txBody>
      </p:sp>
      <p:sp>
        <p:nvSpPr>
          <p:cNvPr id="278" name="Rectangle: Rounded Corners 277">
            <a:extLst>
              <a:ext uri="{FF2B5EF4-FFF2-40B4-BE49-F238E27FC236}">
                <a16:creationId xmlns:a16="http://schemas.microsoft.com/office/drawing/2014/main" id="{FEC980D2-84AD-45BB-AD7F-CC35D3A035ED}"/>
              </a:ext>
            </a:extLst>
          </p:cNvPr>
          <p:cNvSpPr/>
          <p:nvPr/>
        </p:nvSpPr>
        <p:spPr bwMode="auto">
          <a:xfrm>
            <a:off x="4885987" y="3171133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279" name="Group 278">
            <a:extLst>
              <a:ext uri="{FF2B5EF4-FFF2-40B4-BE49-F238E27FC236}">
                <a16:creationId xmlns:a16="http://schemas.microsoft.com/office/drawing/2014/main" id="{0063A9DC-7930-4005-BBD6-07747D795F1E}"/>
              </a:ext>
            </a:extLst>
          </p:cNvPr>
          <p:cNvGrpSpPr/>
          <p:nvPr/>
        </p:nvGrpSpPr>
        <p:grpSpPr>
          <a:xfrm>
            <a:off x="4948999" y="3196177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80" name="Rectangle: Rounded Corners 279">
              <a:extLst>
                <a:ext uri="{FF2B5EF4-FFF2-40B4-BE49-F238E27FC236}">
                  <a16:creationId xmlns:a16="http://schemas.microsoft.com/office/drawing/2014/main" id="{A6138501-6A84-4B09-9E23-00EA534D8D03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81" name="Rectangle: Rounded Corners 280">
              <a:extLst>
                <a:ext uri="{FF2B5EF4-FFF2-40B4-BE49-F238E27FC236}">
                  <a16:creationId xmlns:a16="http://schemas.microsoft.com/office/drawing/2014/main" id="{EA6DEA99-CA4C-4488-B8C8-310247D6608D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82" name="Rectangle: Rounded Corners 281">
              <a:extLst>
                <a:ext uri="{FF2B5EF4-FFF2-40B4-BE49-F238E27FC236}">
                  <a16:creationId xmlns:a16="http://schemas.microsoft.com/office/drawing/2014/main" id="{C5A2C16F-D651-4D35-8720-2E8C9F7D101E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83" name="Rectangle: Rounded Corners 282">
              <a:extLst>
                <a:ext uri="{FF2B5EF4-FFF2-40B4-BE49-F238E27FC236}">
                  <a16:creationId xmlns:a16="http://schemas.microsoft.com/office/drawing/2014/main" id="{A5D8A9EF-3782-4D38-806C-9FBF9138174A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sp>
        <p:nvSpPr>
          <p:cNvPr id="284" name="Rectangle: Rounded Corners 283">
            <a:extLst>
              <a:ext uri="{FF2B5EF4-FFF2-40B4-BE49-F238E27FC236}">
                <a16:creationId xmlns:a16="http://schemas.microsoft.com/office/drawing/2014/main" id="{B7C1354B-6D39-42DF-9A36-BA14B52186C3}"/>
              </a:ext>
            </a:extLst>
          </p:cNvPr>
          <p:cNvSpPr/>
          <p:nvPr/>
        </p:nvSpPr>
        <p:spPr bwMode="auto">
          <a:xfrm>
            <a:off x="4879677" y="3560705"/>
            <a:ext cx="258933" cy="260401"/>
          </a:xfrm>
          <a:prstGeom prst="roundRect">
            <a:avLst>
              <a:gd name="adj" fmla="val 12069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olid"/>
          </a:ln>
          <a:effectLst>
            <a:outerShdw blurRad="63500" sx="101000" sy="101000" algn="ctr" rotWithShape="0">
              <a:schemeClr val="tx1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defTabSz="2438338" hangingPunct="0"/>
            <a:endParaRPr lang="fr-FR" sz="1050">
              <a:solidFill>
                <a:srgbClr val="5E5E5E">
                  <a:lumMod val="50000"/>
                </a:srgbClr>
              </a:solidFill>
              <a:latin typeface="Corbel" panose="020B0503020204020204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285" name="Group 284">
            <a:extLst>
              <a:ext uri="{FF2B5EF4-FFF2-40B4-BE49-F238E27FC236}">
                <a16:creationId xmlns:a16="http://schemas.microsoft.com/office/drawing/2014/main" id="{990A191D-707A-4AE3-8C3F-4369CBEC96AD}"/>
              </a:ext>
            </a:extLst>
          </p:cNvPr>
          <p:cNvGrpSpPr/>
          <p:nvPr/>
        </p:nvGrpSpPr>
        <p:grpSpPr>
          <a:xfrm>
            <a:off x="4942689" y="3585749"/>
            <a:ext cx="141462" cy="201486"/>
            <a:chOff x="11121815" y="2238375"/>
            <a:chExt cx="233264" cy="332236"/>
          </a:xfrm>
          <a:solidFill>
            <a:schemeClr val="bg1">
              <a:lumMod val="75000"/>
            </a:schemeClr>
          </a:solidFill>
        </p:grpSpPr>
        <p:sp>
          <p:nvSpPr>
            <p:cNvPr id="286" name="Rectangle: Rounded Corners 285">
              <a:extLst>
                <a:ext uri="{FF2B5EF4-FFF2-40B4-BE49-F238E27FC236}">
                  <a16:creationId xmlns:a16="http://schemas.microsoft.com/office/drawing/2014/main" id="{FC20EC68-8057-46F7-AEDD-6997053E066E}"/>
                </a:ext>
              </a:extLst>
            </p:cNvPr>
            <p:cNvSpPr/>
            <p:nvPr/>
          </p:nvSpPr>
          <p:spPr bwMode="auto">
            <a:xfrm>
              <a:off x="11121815" y="2426677"/>
              <a:ext cx="45719" cy="14393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87" name="Rectangle: Rounded Corners 286">
              <a:extLst>
                <a:ext uri="{FF2B5EF4-FFF2-40B4-BE49-F238E27FC236}">
                  <a16:creationId xmlns:a16="http://schemas.microsoft.com/office/drawing/2014/main" id="{C9935791-E226-4343-9666-8A1BE228BB18}"/>
                </a:ext>
              </a:extLst>
            </p:cNvPr>
            <p:cNvSpPr/>
            <p:nvPr/>
          </p:nvSpPr>
          <p:spPr bwMode="auto">
            <a:xfrm>
              <a:off x="11184330" y="2386013"/>
              <a:ext cx="45719" cy="18459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88" name="Rectangle: Rounded Corners 287">
              <a:extLst>
                <a:ext uri="{FF2B5EF4-FFF2-40B4-BE49-F238E27FC236}">
                  <a16:creationId xmlns:a16="http://schemas.microsoft.com/office/drawing/2014/main" id="{A9347242-CC74-49AB-AE5A-1EBDEDC8C704}"/>
                </a:ext>
              </a:extLst>
            </p:cNvPr>
            <p:cNvSpPr/>
            <p:nvPr/>
          </p:nvSpPr>
          <p:spPr bwMode="auto">
            <a:xfrm>
              <a:off x="11246845" y="2333625"/>
              <a:ext cx="45719" cy="236986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7654C361-4149-458C-9DC4-DF3A7F089CE1}"/>
                </a:ext>
              </a:extLst>
            </p:cNvPr>
            <p:cNvSpPr/>
            <p:nvPr/>
          </p:nvSpPr>
          <p:spPr bwMode="auto">
            <a:xfrm>
              <a:off x="11309360" y="2238375"/>
              <a:ext cx="45719" cy="3322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>
              <a:outerShdw blurRad="63500" sx="101000" sy="101000" algn="ctr" rotWithShape="0">
                <a:schemeClr val="tx1">
                  <a:lumMod val="60000"/>
                  <a:lumOff val="40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defTabSz="2438338" hangingPunct="0"/>
              <a:endParaRPr lang="fr-FR" sz="1050">
                <a:solidFill>
                  <a:srgbClr val="5E5E5E">
                    <a:lumMod val="50000"/>
                  </a:srgbClr>
                </a:solidFill>
                <a:latin typeface="Corbel" panose="020B0503020204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</p:grpSp>
      <p:sp>
        <p:nvSpPr>
          <p:cNvPr id="180" name="Rectangle 179">
            <a:extLst>
              <a:ext uri="{FF2B5EF4-FFF2-40B4-BE49-F238E27FC236}">
                <a16:creationId xmlns:a16="http://schemas.microsoft.com/office/drawing/2014/main" id="{9FB837D0-7478-4D85-97D1-49744DD2BA93}"/>
              </a:ext>
            </a:extLst>
          </p:cNvPr>
          <p:cNvSpPr/>
          <p:nvPr/>
        </p:nvSpPr>
        <p:spPr>
          <a:xfrm>
            <a:off x="5210553" y="3127921"/>
            <a:ext cx="1313340" cy="1469876"/>
          </a:xfrm>
          <a:prstGeom prst="rect">
            <a:avLst/>
          </a:prstGeom>
          <a:noFill/>
          <a:ln w="38100" cap="flat">
            <a:solidFill>
              <a:srgbClr val="0070C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endParaRPr lang="fr-FR" sz="1200">
              <a:solidFill>
                <a:srgbClr val="5E5E5E"/>
              </a:solidFill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</p:spTree>
    <p:extLst>
      <p:ext uri="{BB962C8B-B14F-4D97-AF65-F5344CB8AC3E}">
        <p14:creationId xmlns:p14="http://schemas.microsoft.com/office/powerpoint/2010/main" val="1609364173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30547-4EAB-40AB-883F-A1BAC47BACF1}"/>
              </a:ext>
            </a:extLst>
          </p:cNvPr>
          <p:cNvGrpSpPr/>
          <p:nvPr/>
        </p:nvGrpSpPr>
        <p:grpSpPr>
          <a:xfrm>
            <a:off x="1166440" y="1334829"/>
            <a:ext cx="9859120" cy="5079188"/>
            <a:chOff x="1394882" y="992184"/>
            <a:chExt cx="9859120" cy="5079188"/>
          </a:xfrm>
        </p:grpSpPr>
        <p:sp>
          <p:nvSpPr>
            <p:cNvPr id="6" name="Rectangle : coins arrondis 92">
              <a:extLst>
                <a:ext uri="{FF2B5EF4-FFF2-40B4-BE49-F238E27FC236}">
                  <a16:creationId xmlns:a16="http://schemas.microsoft.com/office/drawing/2014/main" id="{57D5E545-754E-422F-9AD5-588C2EE613A9}"/>
                </a:ext>
              </a:extLst>
            </p:cNvPr>
            <p:cNvSpPr/>
            <p:nvPr/>
          </p:nvSpPr>
          <p:spPr>
            <a:xfrm>
              <a:off x="1434824" y="2059626"/>
              <a:ext cx="9555173" cy="2674772"/>
            </a:xfrm>
            <a:prstGeom prst="roundRect">
              <a:avLst>
                <a:gd name="adj" fmla="val 8836"/>
              </a:avLst>
            </a:prstGeom>
            <a:solidFill>
              <a:srgbClr val="6FAD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7" name="Groupe 433">
              <a:extLst>
                <a:ext uri="{FF2B5EF4-FFF2-40B4-BE49-F238E27FC236}">
                  <a16:creationId xmlns:a16="http://schemas.microsoft.com/office/drawing/2014/main" id="{9E37A060-32C8-4A7D-A654-701692952BD4}"/>
                </a:ext>
              </a:extLst>
            </p:cNvPr>
            <p:cNvGrpSpPr/>
            <p:nvPr/>
          </p:nvGrpSpPr>
          <p:grpSpPr>
            <a:xfrm>
              <a:off x="5850925" y="1719948"/>
              <a:ext cx="230588" cy="974954"/>
              <a:chOff x="3606429" y="1892398"/>
              <a:chExt cx="230588" cy="974954"/>
            </a:xfrm>
          </p:grpSpPr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37902F13-7F52-4F9F-B72B-B78DD745A2EE}"/>
                  </a:ext>
                </a:extLst>
              </p:cNvPr>
              <p:cNvSpPr/>
              <p:nvPr/>
            </p:nvSpPr>
            <p:spPr>
              <a:xfrm>
                <a:off x="3680431" y="2102670"/>
                <a:ext cx="79199" cy="764682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 w="222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6" name="Bouée 435">
                <a:extLst>
                  <a:ext uri="{FF2B5EF4-FFF2-40B4-BE49-F238E27FC236}">
                    <a16:creationId xmlns:a16="http://schemas.microsoft.com/office/drawing/2014/main" id="{ED6CA0D8-10D0-4E5F-A243-2526053436AD}"/>
                  </a:ext>
                </a:extLst>
              </p:cNvPr>
              <p:cNvSpPr/>
              <p:nvPr/>
            </p:nvSpPr>
            <p:spPr>
              <a:xfrm>
                <a:off x="3606429" y="1892398"/>
                <a:ext cx="230588" cy="230586"/>
              </a:xfrm>
              <a:prstGeom prst="donu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8" name="Groupe 170">
              <a:extLst>
                <a:ext uri="{FF2B5EF4-FFF2-40B4-BE49-F238E27FC236}">
                  <a16:creationId xmlns:a16="http://schemas.microsoft.com/office/drawing/2014/main" id="{B0E6C967-EC1F-4C55-B4BD-9D1E9CAC4D42}"/>
                </a:ext>
              </a:extLst>
            </p:cNvPr>
            <p:cNvGrpSpPr/>
            <p:nvPr/>
          </p:nvGrpSpPr>
          <p:grpSpPr>
            <a:xfrm>
              <a:off x="8021695" y="1719948"/>
              <a:ext cx="230588" cy="974954"/>
              <a:chOff x="3606429" y="1892398"/>
              <a:chExt cx="230588" cy="974954"/>
            </a:xfrm>
          </p:grpSpPr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A17232C3-64CF-4537-B484-1F0C2218804E}"/>
                  </a:ext>
                </a:extLst>
              </p:cNvPr>
              <p:cNvSpPr/>
              <p:nvPr/>
            </p:nvSpPr>
            <p:spPr>
              <a:xfrm>
                <a:off x="3680431" y="2102670"/>
                <a:ext cx="79199" cy="764682"/>
              </a:xfrm>
              <a:prstGeom prst="rect">
                <a:avLst/>
              </a:prstGeom>
              <a:solidFill>
                <a:srgbClr val="6FAD47"/>
              </a:solidFill>
              <a:ln w="222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4" name="Bouée 172">
                <a:extLst>
                  <a:ext uri="{FF2B5EF4-FFF2-40B4-BE49-F238E27FC236}">
                    <a16:creationId xmlns:a16="http://schemas.microsoft.com/office/drawing/2014/main" id="{379556F0-B34F-4A4E-AE57-A0944D6DC387}"/>
                  </a:ext>
                </a:extLst>
              </p:cNvPr>
              <p:cNvSpPr/>
              <p:nvPr/>
            </p:nvSpPr>
            <p:spPr>
              <a:xfrm>
                <a:off x="3606429" y="1892398"/>
                <a:ext cx="230588" cy="230586"/>
              </a:xfrm>
              <a:prstGeom prst="donut">
                <a:avLst/>
              </a:prstGeom>
              <a:solidFill>
                <a:srgbClr val="6FAD4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9" name="Groupe 87">
              <a:extLst>
                <a:ext uri="{FF2B5EF4-FFF2-40B4-BE49-F238E27FC236}">
                  <a16:creationId xmlns:a16="http://schemas.microsoft.com/office/drawing/2014/main" id="{25848912-3922-4760-BAAE-B3612D4A3508}"/>
                </a:ext>
              </a:extLst>
            </p:cNvPr>
            <p:cNvGrpSpPr/>
            <p:nvPr/>
          </p:nvGrpSpPr>
          <p:grpSpPr>
            <a:xfrm>
              <a:off x="1394882" y="2083285"/>
              <a:ext cx="927326" cy="573324"/>
              <a:chOff x="2171811" y="2673074"/>
              <a:chExt cx="1736397" cy="1073538"/>
            </a:xfrm>
          </p:grpSpPr>
          <p:grpSp>
            <p:nvGrpSpPr>
              <p:cNvPr id="141" name="Groupe 86">
                <a:extLst>
                  <a:ext uri="{FF2B5EF4-FFF2-40B4-BE49-F238E27FC236}">
                    <a16:creationId xmlns:a16="http://schemas.microsoft.com/office/drawing/2014/main" id="{10E3E895-AB0D-4A27-A1E3-EA7F18615D93}"/>
                  </a:ext>
                </a:extLst>
              </p:cNvPr>
              <p:cNvGrpSpPr/>
              <p:nvPr/>
            </p:nvGrpSpPr>
            <p:grpSpPr>
              <a:xfrm>
                <a:off x="2171811" y="2673074"/>
                <a:ext cx="1073537" cy="1073538"/>
                <a:chOff x="2064282" y="1577088"/>
                <a:chExt cx="801110" cy="801111"/>
              </a:xfrm>
            </p:grpSpPr>
            <p:sp>
              <p:nvSpPr>
                <p:cNvPr id="151" name="Ellipse 85">
                  <a:extLst>
                    <a:ext uri="{FF2B5EF4-FFF2-40B4-BE49-F238E27FC236}">
                      <a16:creationId xmlns:a16="http://schemas.microsoft.com/office/drawing/2014/main" id="{F68ECBDF-03E6-45B5-8BE1-F03AC85013BB}"/>
                    </a:ext>
                  </a:extLst>
                </p:cNvPr>
                <p:cNvSpPr/>
                <p:nvPr/>
              </p:nvSpPr>
              <p:spPr>
                <a:xfrm>
                  <a:off x="2064282" y="1577088"/>
                  <a:ext cx="801110" cy="801111"/>
                </a:xfrm>
                <a:prstGeom prst="ellipse">
                  <a:avLst/>
                </a:prstGeom>
                <a:solidFill>
                  <a:srgbClr val="6FAD47"/>
                </a:solidFill>
                <a:ln w="63500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2" name="Ellipse 88">
                  <a:extLst>
                    <a:ext uri="{FF2B5EF4-FFF2-40B4-BE49-F238E27FC236}">
                      <a16:creationId xmlns:a16="http://schemas.microsoft.com/office/drawing/2014/main" id="{FDA2AE01-3A62-4656-A34B-02D96C3B1510}"/>
                    </a:ext>
                  </a:extLst>
                </p:cNvPr>
                <p:cNvSpPr/>
                <p:nvPr/>
              </p:nvSpPr>
              <p:spPr>
                <a:xfrm>
                  <a:off x="2172684" y="1683430"/>
                  <a:ext cx="584308" cy="584308"/>
                </a:xfrm>
                <a:prstGeom prst="ellipse">
                  <a:avLst/>
                </a:prstGeom>
                <a:solidFill>
                  <a:schemeClr val="bg1"/>
                </a:solidFill>
                <a:ln w="635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42" name="Groupe 48">
                <a:extLst>
                  <a:ext uri="{FF2B5EF4-FFF2-40B4-BE49-F238E27FC236}">
                    <a16:creationId xmlns:a16="http://schemas.microsoft.com/office/drawing/2014/main" id="{8CEEE9BC-D049-44B0-BE4E-2597BA300D8E}"/>
                  </a:ext>
                </a:extLst>
              </p:cNvPr>
              <p:cNvGrpSpPr/>
              <p:nvPr/>
            </p:nvGrpSpPr>
            <p:grpSpPr>
              <a:xfrm>
                <a:off x="2435842" y="2733727"/>
                <a:ext cx="1472366" cy="733790"/>
                <a:chOff x="5064378" y="2470611"/>
                <a:chExt cx="4480828" cy="2233134"/>
              </a:xfrm>
            </p:grpSpPr>
            <p:sp>
              <p:nvSpPr>
                <p:cNvPr id="143" name="Ellipse 103">
                  <a:extLst>
                    <a:ext uri="{FF2B5EF4-FFF2-40B4-BE49-F238E27FC236}">
                      <a16:creationId xmlns:a16="http://schemas.microsoft.com/office/drawing/2014/main" id="{28007812-9210-4026-81A1-78F64B6DAFB4}"/>
                    </a:ext>
                  </a:extLst>
                </p:cNvPr>
                <p:cNvSpPr/>
                <p:nvPr/>
              </p:nvSpPr>
              <p:spPr>
                <a:xfrm>
                  <a:off x="5567310" y="3146676"/>
                  <a:ext cx="1009779" cy="919646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rgbClr val="6FAD4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44" name="Ellipse 104">
                  <a:extLst>
                    <a:ext uri="{FF2B5EF4-FFF2-40B4-BE49-F238E27FC236}">
                      <a16:creationId xmlns:a16="http://schemas.microsoft.com/office/drawing/2014/main" id="{4274678D-EEFB-409A-90A6-8611600F3D1B}"/>
                    </a:ext>
                  </a:extLst>
                </p:cNvPr>
                <p:cNvSpPr/>
                <p:nvPr/>
              </p:nvSpPr>
              <p:spPr>
                <a:xfrm>
                  <a:off x="5183834" y="3591736"/>
                  <a:ext cx="260144" cy="256169"/>
                </a:xfrm>
                <a:prstGeom prst="ellipse">
                  <a:avLst/>
                </a:prstGeom>
                <a:solidFill>
                  <a:schemeClr val="accent6"/>
                </a:solidFill>
                <a:ln w="38100">
                  <a:solidFill>
                    <a:srgbClr val="6FAD4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45" name="Ellipse 105">
                  <a:extLst>
                    <a:ext uri="{FF2B5EF4-FFF2-40B4-BE49-F238E27FC236}">
                      <a16:creationId xmlns:a16="http://schemas.microsoft.com/office/drawing/2014/main" id="{83C8AB5E-2884-41CB-A6B4-0F6A762FD4F6}"/>
                    </a:ext>
                  </a:extLst>
                </p:cNvPr>
                <p:cNvSpPr/>
                <p:nvPr/>
              </p:nvSpPr>
              <p:spPr>
                <a:xfrm>
                  <a:off x="6464269" y="4104171"/>
                  <a:ext cx="260144" cy="256169"/>
                </a:xfrm>
                <a:prstGeom prst="ellipse">
                  <a:avLst/>
                </a:prstGeom>
                <a:solidFill>
                  <a:schemeClr val="accent6"/>
                </a:solidFill>
                <a:ln w="38100">
                  <a:solidFill>
                    <a:srgbClr val="6FAD4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46" name="Ellipse 106">
                  <a:extLst>
                    <a:ext uri="{FF2B5EF4-FFF2-40B4-BE49-F238E27FC236}">
                      <a16:creationId xmlns:a16="http://schemas.microsoft.com/office/drawing/2014/main" id="{2C22FB1C-DDB6-445F-914A-ECA946DA5DA1}"/>
                    </a:ext>
                  </a:extLst>
                </p:cNvPr>
                <p:cNvSpPr/>
                <p:nvPr/>
              </p:nvSpPr>
              <p:spPr>
                <a:xfrm>
                  <a:off x="5064378" y="4388463"/>
                  <a:ext cx="320176" cy="315282"/>
                </a:xfrm>
                <a:prstGeom prst="ellipse">
                  <a:avLst/>
                </a:prstGeom>
                <a:solidFill>
                  <a:schemeClr val="accent6"/>
                </a:solidFill>
                <a:ln w="38100">
                  <a:solidFill>
                    <a:srgbClr val="6FAD4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88230251-BFCF-427A-BAEA-58A8937EE5A2}"/>
                    </a:ext>
                  </a:extLst>
                </p:cNvPr>
                <p:cNvSpPr/>
                <p:nvPr/>
              </p:nvSpPr>
              <p:spPr>
                <a:xfrm>
                  <a:off x="5439352" y="3686024"/>
                  <a:ext cx="148297" cy="53113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solidFill>
                    <a:srgbClr val="6FAD4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8FFF621E-3CEE-4BA9-A50D-70D991116837}"/>
                    </a:ext>
                  </a:extLst>
                </p:cNvPr>
                <p:cNvSpPr/>
                <p:nvPr/>
              </p:nvSpPr>
              <p:spPr>
                <a:xfrm rot="2494754">
                  <a:off x="6307888" y="4045752"/>
                  <a:ext cx="228744" cy="45719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solidFill>
                    <a:srgbClr val="6FAD4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BE6D1733-03E3-499E-B4D1-C21EAE61CA1D}"/>
                    </a:ext>
                  </a:extLst>
                </p:cNvPr>
                <p:cNvSpPr/>
                <p:nvPr/>
              </p:nvSpPr>
              <p:spPr>
                <a:xfrm rot="19018819">
                  <a:off x="5241716" y="4204107"/>
                  <a:ext cx="663115" cy="57524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solidFill>
                    <a:srgbClr val="6FAD4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0" name="ZoneTexte 128">
                  <a:extLst>
                    <a:ext uri="{FF2B5EF4-FFF2-40B4-BE49-F238E27FC236}">
                      <a16:creationId xmlns:a16="http://schemas.microsoft.com/office/drawing/2014/main" id="{C1412547-11C2-413E-8C53-753B98C9B113}"/>
                    </a:ext>
                  </a:extLst>
                </p:cNvPr>
                <p:cNvSpPr txBox="1"/>
                <p:nvPr/>
              </p:nvSpPr>
              <p:spPr>
                <a:xfrm>
                  <a:off x="7651265" y="2470611"/>
                  <a:ext cx="1893941" cy="87693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HUB</a:t>
                  </a:r>
                </a:p>
              </p:txBody>
            </p:sp>
          </p:grpSp>
        </p:grpSp>
        <p:grpSp>
          <p:nvGrpSpPr>
            <p:cNvPr id="10" name="Groupe 44">
              <a:extLst>
                <a:ext uri="{FF2B5EF4-FFF2-40B4-BE49-F238E27FC236}">
                  <a16:creationId xmlns:a16="http://schemas.microsoft.com/office/drawing/2014/main" id="{45F1B37B-450F-44E7-A068-ADA5AD64DCC7}"/>
                </a:ext>
              </a:extLst>
            </p:cNvPr>
            <p:cNvGrpSpPr/>
            <p:nvPr/>
          </p:nvGrpSpPr>
          <p:grpSpPr>
            <a:xfrm>
              <a:off x="4570837" y="992184"/>
              <a:ext cx="604656" cy="537300"/>
              <a:chOff x="3759249" y="1500325"/>
              <a:chExt cx="1413969" cy="1256462"/>
            </a:xfrm>
          </p:grpSpPr>
          <p:sp>
            <p:nvSpPr>
              <p:cNvPr id="139" name="Triangle isocèle 78">
                <a:extLst>
                  <a:ext uri="{FF2B5EF4-FFF2-40B4-BE49-F238E27FC236}">
                    <a16:creationId xmlns:a16="http://schemas.microsoft.com/office/drawing/2014/main" id="{5F660AEE-4A3F-447C-AC4B-A01E0966BD77}"/>
                  </a:ext>
                </a:extLst>
              </p:cNvPr>
              <p:cNvSpPr/>
              <p:nvPr/>
            </p:nvSpPr>
            <p:spPr>
              <a:xfrm rot="10800000">
                <a:off x="3759249" y="1919146"/>
                <a:ext cx="1413969" cy="837641"/>
              </a:xfrm>
              <a:prstGeom prst="triangle">
                <a:avLst/>
              </a:prstGeom>
              <a:solidFill>
                <a:srgbClr val="0073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0" name="Freeform 21">
                <a:extLst>
                  <a:ext uri="{FF2B5EF4-FFF2-40B4-BE49-F238E27FC236}">
                    <a16:creationId xmlns:a16="http://schemas.microsoft.com/office/drawing/2014/main" id="{2594DD0C-4C42-4A86-845B-93247033C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9567" y="1500325"/>
                <a:ext cx="943575" cy="943575"/>
              </a:xfrm>
              <a:custGeom>
                <a:avLst/>
                <a:gdLst>
                  <a:gd name="T0" fmla="*/ 62 w 439"/>
                  <a:gd name="T1" fmla="*/ 322 h 410"/>
                  <a:gd name="T2" fmla="*/ 106 w 439"/>
                  <a:gd name="T3" fmla="*/ 61 h 410"/>
                  <a:gd name="T4" fmla="*/ 376 w 439"/>
                  <a:gd name="T5" fmla="*/ 99 h 410"/>
                  <a:gd name="T6" fmla="*/ 327 w 439"/>
                  <a:gd name="T7" fmla="*/ 348 h 410"/>
                  <a:gd name="T8" fmla="*/ 62 w 439"/>
                  <a:gd name="T9" fmla="*/ 32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9" h="410">
                    <a:moveTo>
                      <a:pt x="62" y="322"/>
                    </a:moveTo>
                    <a:cubicBezTo>
                      <a:pt x="0" y="238"/>
                      <a:pt x="19" y="123"/>
                      <a:pt x="106" y="61"/>
                    </a:cubicBezTo>
                    <a:cubicBezTo>
                      <a:pt x="191" y="0"/>
                      <a:pt x="312" y="17"/>
                      <a:pt x="376" y="99"/>
                    </a:cubicBezTo>
                    <a:cubicBezTo>
                      <a:pt x="439" y="182"/>
                      <a:pt x="412" y="288"/>
                      <a:pt x="327" y="348"/>
                    </a:cubicBezTo>
                    <a:cubicBezTo>
                      <a:pt x="240" y="410"/>
                      <a:pt x="126" y="403"/>
                      <a:pt x="62" y="322"/>
                    </a:cubicBezTo>
                  </a:path>
                </a:pathLst>
              </a:custGeom>
              <a:solidFill>
                <a:srgbClr val="0073B2"/>
              </a:solidFill>
              <a:ln w="19050">
                <a:solidFill>
                  <a:schemeClr val="bg1"/>
                </a:solidFill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7429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aaS</a:t>
                </a:r>
              </a:p>
              <a:p>
                <a:pPr marL="0" marR="0" lvl="0" indent="0" algn="ctr" defTabSz="7429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1</a:t>
                </a:r>
                <a:endParaRPr kumimoji="0" lang="en-US" sz="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" name="Groupe 105">
              <a:extLst>
                <a:ext uri="{FF2B5EF4-FFF2-40B4-BE49-F238E27FC236}">
                  <a16:creationId xmlns:a16="http://schemas.microsoft.com/office/drawing/2014/main" id="{425D12AB-C08A-4FE3-AA76-B0FEDCFA81A9}"/>
                </a:ext>
              </a:extLst>
            </p:cNvPr>
            <p:cNvGrpSpPr/>
            <p:nvPr/>
          </p:nvGrpSpPr>
          <p:grpSpPr>
            <a:xfrm>
              <a:off x="6982644" y="992184"/>
              <a:ext cx="604656" cy="537300"/>
              <a:chOff x="3759249" y="1500325"/>
              <a:chExt cx="1413969" cy="1256462"/>
            </a:xfrm>
          </p:grpSpPr>
          <p:sp>
            <p:nvSpPr>
              <p:cNvPr id="137" name="Triangle isocèle 78">
                <a:extLst>
                  <a:ext uri="{FF2B5EF4-FFF2-40B4-BE49-F238E27FC236}">
                    <a16:creationId xmlns:a16="http://schemas.microsoft.com/office/drawing/2014/main" id="{0CFE5BC3-37C2-445D-B962-29AD7B56CB81}"/>
                  </a:ext>
                </a:extLst>
              </p:cNvPr>
              <p:cNvSpPr/>
              <p:nvPr/>
            </p:nvSpPr>
            <p:spPr>
              <a:xfrm rot="10800000">
                <a:off x="3759249" y="1919146"/>
                <a:ext cx="1413969" cy="837641"/>
              </a:xfrm>
              <a:prstGeom prst="triangle">
                <a:avLst/>
              </a:prstGeom>
              <a:solidFill>
                <a:srgbClr val="0073B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8" name="Freeform 21">
                <a:extLst>
                  <a:ext uri="{FF2B5EF4-FFF2-40B4-BE49-F238E27FC236}">
                    <a16:creationId xmlns:a16="http://schemas.microsoft.com/office/drawing/2014/main" id="{FC29FBA1-95D0-452C-8BC3-AFF53428D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9567" y="1500325"/>
                <a:ext cx="943575" cy="943575"/>
              </a:xfrm>
              <a:custGeom>
                <a:avLst/>
                <a:gdLst>
                  <a:gd name="T0" fmla="*/ 62 w 439"/>
                  <a:gd name="T1" fmla="*/ 322 h 410"/>
                  <a:gd name="T2" fmla="*/ 106 w 439"/>
                  <a:gd name="T3" fmla="*/ 61 h 410"/>
                  <a:gd name="T4" fmla="*/ 376 w 439"/>
                  <a:gd name="T5" fmla="*/ 99 h 410"/>
                  <a:gd name="T6" fmla="*/ 327 w 439"/>
                  <a:gd name="T7" fmla="*/ 348 h 410"/>
                  <a:gd name="T8" fmla="*/ 62 w 439"/>
                  <a:gd name="T9" fmla="*/ 32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9" h="410">
                    <a:moveTo>
                      <a:pt x="62" y="322"/>
                    </a:moveTo>
                    <a:cubicBezTo>
                      <a:pt x="0" y="238"/>
                      <a:pt x="19" y="123"/>
                      <a:pt x="106" y="61"/>
                    </a:cubicBezTo>
                    <a:cubicBezTo>
                      <a:pt x="191" y="0"/>
                      <a:pt x="312" y="17"/>
                      <a:pt x="376" y="99"/>
                    </a:cubicBezTo>
                    <a:cubicBezTo>
                      <a:pt x="439" y="182"/>
                      <a:pt x="412" y="288"/>
                      <a:pt x="327" y="348"/>
                    </a:cubicBezTo>
                    <a:cubicBezTo>
                      <a:pt x="240" y="410"/>
                      <a:pt x="126" y="403"/>
                      <a:pt x="62" y="322"/>
                    </a:cubicBezTo>
                  </a:path>
                </a:pathLst>
              </a:custGeom>
              <a:solidFill>
                <a:srgbClr val="0073B2"/>
              </a:solidFill>
              <a:ln w="19050">
                <a:solidFill>
                  <a:schemeClr val="bg1"/>
                </a:solidFill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7429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aaS</a:t>
                </a:r>
              </a:p>
              <a:p>
                <a:pPr marL="0" marR="0" lvl="0" indent="0" algn="ctr" defTabSz="7429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2</a:t>
                </a:r>
                <a:endParaRPr kumimoji="0" lang="en-US" sz="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2" name="Rectangle : coins arrondis 123">
              <a:extLst>
                <a:ext uri="{FF2B5EF4-FFF2-40B4-BE49-F238E27FC236}">
                  <a16:creationId xmlns:a16="http://schemas.microsoft.com/office/drawing/2014/main" id="{D48C821F-F0F1-41D6-A9CB-ECD2EDEF2F7C}"/>
                </a:ext>
              </a:extLst>
            </p:cNvPr>
            <p:cNvSpPr/>
            <p:nvPr/>
          </p:nvSpPr>
          <p:spPr>
            <a:xfrm rot="10800000" flipH="1" flipV="1">
              <a:off x="4346158" y="2468314"/>
              <a:ext cx="6384621" cy="2126411"/>
            </a:xfrm>
            <a:prstGeom prst="roundRect">
              <a:avLst>
                <a:gd name="adj" fmla="val 8836"/>
              </a:avLst>
            </a:prstGeom>
            <a:solidFill>
              <a:srgbClr val="C9EA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5E5E5E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Gateway</a:t>
              </a:r>
            </a:p>
          </p:txBody>
        </p:sp>
        <p:grpSp>
          <p:nvGrpSpPr>
            <p:cNvPr id="13" name="Groupe 175">
              <a:extLst>
                <a:ext uri="{FF2B5EF4-FFF2-40B4-BE49-F238E27FC236}">
                  <a16:creationId xmlns:a16="http://schemas.microsoft.com/office/drawing/2014/main" id="{BE11598A-FCCF-465C-9F41-D60789A3CBEB}"/>
                </a:ext>
              </a:extLst>
            </p:cNvPr>
            <p:cNvGrpSpPr/>
            <p:nvPr/>
          </p:nvGrpSpPr>
          <p:grpSpPr>
            <a:xfrm>
              <a:off x="4473003" y="2741505"/>
              <a:ext cx="1834937" cy="686312"/>
              <a:chOff x="4396535" y="3056483"/>
              <a:chExt cx="1834937" cy="686312"/>
            </a:xfrm>
          </p:grpSpPr>
          <p:sp>
            <p:nvSpPr>
              <p:cNvPr id="134" name="Cylindre 127">
                <a:extLst>
                  <a:ext uri="{FF2B5EF4-FFF2-40B4-BE49-F238E27FC236}">
                    <a16:creationId xmlns:a16="http://schemas.microsoft.com/office/drawing/2014/main" id="{B45975A9-5584-4C1E-BCED-F05DDDF04AF0}"/>
                  </a:ext>
                </a:extLst>
              </p:cNvPr>
              <p:cNvSpPr/>
              <p:nvPr/>
            </p:nvSpPr>
            <p:spPr>
              <a:xfrm>
                <a:off x="4505379" y="3330736"/>
                <a:ext cx="490953" cy="342808"/>
              </a:xfrm>
              <a:prstGeom prst="can">
                <a:avLst/>
              </a:prstGeom>
              <a:solidFill>
                <a:srgbClr val="6FAD4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Données technique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SPs</a:t>
                </a:r>
              </a:p>
            </p:txBody>
          </p:sp>
          <p:sp>
            <p:nvSpPr>
              <p:cNvPr id="135" name="Cylindre 128">
                <a:extLst>
                  <a:ext uri="{FF2B5EF4-FFF2-40B4-BE49-F238E27FC236}">
                    <a16:creationId xmlns:a16="http://schemas.microsoft.com/office/drawing/2014/main" id="{121628C3-26F3-4B3A-9FDD-9C0A8A2B67B1}"/>
                  </a:ext>
                </a:extLst>
              </p:cNvPr>
              <p:cNvSpPr/>
              <p:nvPr/>
            </p:nvSpPr>
            <p:spPr>
              <a:xfrm>
                <a:off x="5064531" y="3330736"/>
                <a:ext cx="490953" cy="342808"/>
              </a:xfrm>
              <a:prstGeom prst="can">
                <a:avLst/>
              </a:prstGeom>
              <a:solidFill>
                <a:srgbClr val="6FAD4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étadata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adaptateurs</a:t>
                </a:r>
              </a:p>
            </p:txBody>
          </p:sp>
          <p:sp>
            <p:nvSpPr>
              <p:cNvPr id="136" name="Rectangle : coins arrondis 129">
                <a:extLst>
                  <a:ext uri="{FF2B5EF4-FFF2-40B4-BE49-F238E27FC236}">
                    <a16:creationId xmlns:a16="http://schemas.microsoft.com/office/drawing/2014/main" id="{4AFA77FF-C670-4E1C-9641-B83CA92BC1E5}"/>
                  </a:ext>
                </a:extLst>
              </p:cNvPr>
              <p:cNvSpPr/>
              <p:nvPr/>
            </p:nvSpPr>
            <p:spPr>
              <a:xfrm rot="10800000" flipH="1" flipV="1">
                <a:off x="4396535" y="3056483"/>
                <a:ext cx="1834937" cy="686312"/>
              </a:xfrm>
              <a:prstGeom prst="roundRect">
                <a:avLst>
                  <a:gd name="adj" fmla="val 8836"/>
                </a:avLst>
              </a:prstGeom>
              <a:noFill/>
              <a:ln>
                <a:solidFill>
                  <a:schemeClr val="accent1">
                    <a:shade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800" b="0" i="0" u="none" strike="noStrike" kern="1200" cap="none" spc="0" normalizeH="0" baseline="0" noProof="0">
                    <a:ln>
                      <a:noFill/>
                    </a:ln>
                    <a:solidFill>
                      <a:srgbClr val="D5D5D5">
                        <a:lumMod val="5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Recensement/découverte des adaptateurs</a:t>
                </a:r>
              </a:p>
            </p:txBody>
          </p:sp>
        </p:grpSp>
        <p:sp>
          <p:nvSpPr>
            <p:cNvPr id="14" name="Rectangle : coins arrondis 136">
              <a:extLst>
                <a:ext uri="{FF2B5EF4-FFF2-40B4-BE49-F238E27FC236}">
                  <a16:creationId xmlns:a16="http://schemas.microsoft.com/office/drawing/2014/main" id="{9839258C-76D8-4982-B1F7-161DCCCA2B50}"/>
                </a:ext>
              </a:extLst>
            </p:cNvPr>
            <p:cNvSpPr/>
            <p:nvPr/>
          </p:nvSpPr>
          <p:spPr>
            <a:xfrm rot="10800000" flipH="1" flipV="1">
              <a:off x="6436816" y="2744160"/>
              <a:ext cx="4160340" cy="1781995"/>
            </a:xfrm>
            <a:prstGeom prst="roundRect">
              <a:avLst>
                <a:gd name="adj" fmla="val 8836"/>
              </a:avLst>
            </a:prstGeom>
            <a:noFill/>
            <a:ln>
              <a:solidFill>
                <a:schemeClr val="accent1">
                  <a:shade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1200" cap="none" spc="0" normalizeH="0" baseline="0" noProof="0">
                  <a:ln>
                    <a:noFill/>
                  </a:ln>
                  <a:solidFill>
                    <a:srgbClr val="D5D5D5">
                      <a:lumMod val="50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Hébergement et orchestration des adaptateurs (RI, IV, Facturation, ...)</a:t>
              </a:r>
            </a:p>
          </p:txBody>
        </p:sp>
        <p:grpSp>
          <p:nvGrpSpPr>
            <p:cNvPr id="15" name="Groupe 141">
              <a:extLst>
                <a:ext uri="{FF2B5EF4-FFF2-40B4-BE49-F238E27FC236}">
                  <a16:creationId xmlns:a16="http://schemas.microsoft.com/office/drawing/2014/main" id="{5F057632-CDCB-41CA-B108-F87BFDBA2853}"/>
                </a:ext>
              </a:extLst>
            </p:cNvPr>
            <p:cNvGrpSpPr/>
            <p:nvPr/>
          </p:nvGrpSpPr>
          <p:grpSpPr>
            <a:xfrm>
              <a:off x="3682897" y="1719948"/>
              <a:ext cx="230588" cy="999566"/>
              <a:chOff x="3606429" y="1892398"/>
              <a:chExt cx="230588" cy="999566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97786741-E6CB-4462-A1EE-E3B42C3B032B}"/>
                  </a:ext>
                </a:extLst>
              </p:cNvPr>
              <p:cNvSpPr/>
              <p:nvPr/>
            </p:nvSpPr>
            <p:spPr>
              <a:xfrm>
                <a:off x="3680560" y="2127282"/>
                <a:ext cx="79199" cy="764682"/>
              </a:xfrm>
              <a:prstGeom prst="rect">
                <a:avLst/>
              </a:prstGeom>
              <a:solidFill>
                <a:srgbClr val="F5CA00"/>
              </a:solidFill>
              <a:ln w="222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3" name="Bouée 137">
                <a:extLst>
                  <a:ext uri="{FF2B5EF4-FFF2-40B4-BE49-F238E27FC236}">
                    <a16:creationId xmlns:a16="http://schemas.microsoft.com/office/drawing/2014/main" id="{5B515F7B-D600-4F39-8F84-A31C57F2A46F}"/>
                  </a:ext>
                </a:extLst>
              </p:cNvPr>
              <p:cNvSpPr/>
              <p:nvPr/>
            </p:nvSpPr>
            <p:spPr>
              <a:xfrm>
                <a:off x="3606429" y="1892398"/>
                <a:ext cx="230588" cy="230586"/>
              </a:xfrm>
              <a:prstGeom prst="donut">
                <a:avLst/>
              </a:prstGeom>
              <a:solidFill>
                <a:srgbClr val="F5CA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" name="Groupe 121">
              <a:extLst>
                <a:ext uri="{FF2B5EF4-FFF2-40B4-BE49-F238E27FC236}">
                  <a16:creationId xmlns:a16="http://schemas.microsoft.com/office/drawing/2014/main" id="{FB36987E-DE52-428B-A2E4-76F68A2C6085}"/>
                </a:ext>
              </a:extLst>
            </p:cNvPr>
            <p:cNvGrpSpPr/>
            <p:nvPr/>
          </p:nvGrpSpPr>
          <p:grpSpPr>
            <a:xfrm>
              <a:off x="2069363" y="2468314"/>
              <a:ext cx="2080165" cy="1899171"/>
              <a:chOff x="2295205" y="2783292"/>
              <a:chExt cx="2080165" cy="1899171"/>
            </a:xfrm>
          </p:grpSpPr>
          <p:sp>
            <p:nvSpPr>
              <p:cNvPr id="121" name="Rectangle : coins arrondis 110">
                <a:extLst>
                  <a:ext uri="{FF2B5EF4-FFF2-40B4-BE49-F238E27FC236}">
                    <a16:creationId xmlns:a16="http://schemas.microsoft.com/office/drawing/2014/main" id="{8ACCA051-8042-4FEF-B61A-D3D2E790004D}"/>
                  </a:ext>
                </a:extLst>
              </p:cNvPr>
              <p:cNvSpPr/>
              <p:nvPr/>
            </p:nvSpPr>
            <p:spPr>
              <a:xfrm rot="10800000" flipH="1" flipV="1">
                <a:off x="2295205" y="2783292"/>
                <a:ext cx="2080165" cy="1899171"/>
              </a:xfrm>
              <a:prstGeom prst="roundRect">
                <a:avLst>
                  <a:gd name="adj" fmla="val 8836"/>
                </a:avLst>
              </a:prstGeom>
              <a:solidFill>
                <a:srgbClr val="C9EA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on Compte Mobilité</a:t>
                </a:r>
              </a:p>
            </p:txBody>
          </p:sp>
          <p:grpSp>
            <p:nvGrpSpPr>
              <p:cNvPr id="122" name="Groupe 120">
                <a:extLst>
                  <a:ext uri="{FF2B5EF4-FFF2-40B4-BE49-F238E27FC236}">
                    <a16:creationId xmlns:a16="http://schemas.microsoft.com/office/drawing/2014/main" id="{B4A4966E-7CAE-46B3-96FC-F9AFB91F328C}"/>
                  </a:ext>
                </a:extLst>
              </p:cNvPr>
              <p:cNvGrpSpPr/>
              <p:nvPr/>
            </p:nvGrpSpPr>
            <p:grpSpPr>
              <a:xfrm>
                <a:off x="2422050" y="3872542"/>
                <a:ext cx="1834937" cy="686312"/>
                <a:chOff x="2422050" y="3872542"/>
                <a:chExt cx="1834937" cy="686312"/>
              </a:xfrm>
            </p:grpSpPr>
            <p:sp>
              <p:nvSpPr>
                <p:cNvPr id="128" name="Cylindre 114">
                  <a:extLst>
                    <a:ext uri="{FF2B5EF4-FFF2-40B4-BE49-F238E27FC236}">
                      <a16:creationId xmlns:a16="http://schemas.microsoft.com/office/drawing/2014/main" id="{6949DB0C-7BC1-47E1-BA4F-EFD4A948425B}"/>
                    </a:ext>
                  </a:extLst>
                </p:cNvPr>
                <p:cNvSpPr/>
                <p:nvPr/>
              </p:nvSpPr>
              <p:spPr>
                <a:xfrm>
                  <a:off x="2523905" y="4142265"/>
                  <a:ext cx="490953" cy="342808"/>
                </a:xfrm>
                <a:prstGeom prst="can">
                  <a:avLst/>
                </a:prstGeom>
                <a:solidFill>
                  <a:srgbClr val="6FAD47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Profils</a:t>
                  </a:r>
                </a:p>
              </p:txBody>
            </p:sp>
            <p:sp>
              <p:nvSpPr>
                <p:cNvPr id="129" name="Rectangle : coins arrondis 115">
                  <a:extLst>
                    <a:ext uri="{FF2B5EF4-FFF2-40B4-BE49-F238E27FC236}">
                      <a16:creationId xmlns:a16="http://schemas.microsoft.com/office/drawing/2014/main" id="{2E9A0FE2-1713-450F-8ABC-AD95C18E6C69}"/>
                    </a:ext>
                  </a:extLst>
                </p:cNvPr>
                <p:cNvSpPr/>
                <p:nvPr/>
              </p:nvSpPr>
              <p:spPr>
                <a:xfrm rot="10800000" flipH="1" flipV="1">
                  <a:off x="2422050" y="3872542"/>
                  <a:ext cx="1834937" cy="686312"/>
                </a:xfrm>
                <a:prstGeom prst="roundRect">
                  <a:avLst>
                    <a:gd name="adj" fmla="val 8836"/>
                  </a:avLst>
                </a:prstGeom>
                <a:noFill/>
                <a:ln>
                  <a:solidFill>
                    <a:schemeClr val="accent1">
                      <a:shade val="50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D5D5D5">
                          <a:lumMod val="50000"/>
                        </a:srgbClr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Gestion des identités</a:t>
                  </a:r>
                </a:p>
              </p:txBody>
            </p:sp>
            <p:sp>
              <p:nvSpPr>
                <p:cNvPr id="130" name="Cylindre 116">
                  <a:extLst>
                    <a:ext uri="{FF2B5EF4-FFF2-40B4-BE49-F238E27FC236}">
                      <a16:creationId xmlns:a16="http://schemas.microsoft.com/office/drawing/2014/main" id="{584A9E91-E79D-4EFE-8529-DD106B3762BC}"/>
                    </a:ext>
                  </a:extLst>
                </p:cNvPr>
                <p:cNvSpPr/>
                <p:nvPr/>
              </p:nvSpPr>
              <p:spPr>
                <a:xfrm>
                  <a:off x="3088502" y="4142265"/>
                  <a:ext cx="490953" cy="342808"/>
                </a:xfrm>
                <a:prstGeom prst="can">
                  <a:avLst/>
                </a:prstGeom>
                <a:solidFill>
                  <a:srgbClr val="6FAD47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Affiliations</a:t>
                  </a:r>
                </a:p>
              </p:txBody>
            </p:sp>
            <p:sp>
              <p:nvSpPr>
                <p:cNvPr id="131" name="Cylindre 117">
                  <a:extLst>
                    <a:ext uri="{FF2B5EF4-FFF2-40B4-BE49-F238E27FC236}">
                      <a16:creationId xmlns:a16="http://schemas.microsoft.com/office/drawing/2014/main" id="{777FA727-DD2D-49FC-82A9-D47B562C78B4}"/>
                    </a:ext>
                  </a:extLst>
                </p:cNvPr>
                <p:cNvSpPr/>
                <p:nvPr/>
              </p:nvSpPr>
              <p:spPr>
                <a:xfrm>
                  <a:off x="3648373" y="4142265"/>
                  <a:ext cx="490953" cy="342808"/>
                </a:xfrm>
                <a:prstGeom prst="can">
                  <a:avLst/>
                </a:prstGeom>
                <a:solidFill>
                  <a:srgbClr val="6FAD47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Consent.</a:t>
                  </a:r>
                </a:p>
              </p:txBody>
            </p:sp>
          </p:grpSp>
          <p:grpSp>
            <p:nvGrpSpPr>
              <p:cNvPr id="123" name="Groupe 119">
                <a:extLst>
                  <a:ext uri="{FF2B5EF4-FFF2-40B4-BE49-F238E27FC236}">
                    <a16:creationId xmlns:a16="http://schemas.microsoft.com/office/drawing/2014/main" id="{66D309BB-2DED-4FC2-8128-35B6C5B15625}"/>
                  </a:ext>
                </a:extLst>
              </p:cNvPr>
              <p:cNvGrpSpPr/>
              <p:nvPr/>
            </p:nvGrpSpPr>
            <p:grpSpPr>
              <a:xfrm>
                <a:off x="2422050" y="3056483"/>
                <a:ext cx="1834937" cy="686312"/>
                <a:chOff x="2422050" y="3056483"/>
                <a:chExt cx="1834937" cy="686312"/>
              </a:xfrm>
            </p:grpSpPr>
            <p:sp>
              <p:nvSpPr>
                <p:cNvPr id="124" name="Cylindre 111">
                  <a:extLst>
                    <a:ext uri="{FF2B5EF4-FFF2-40B4-BE49-F238E27FC236}">
                      <a16:creationId xmlns:a16="http://schemas.microsoft.com/office/drawing/2014/main" id="{F78C547D-4D0F-4184-9D26-4D3AB25547E3}"/>
                    </a:ext>
                  </a:extLst>
                </p:cNvPr>
                <p:cNvSpPr/>
                <p:nvPr/>
              </p:nvSpPr>
              <p:spPr>
                <a:xfrm>
                  <a:off x="3658254" y="3326206"/>
                  <a:ext cx="490953" cy="342808"/>
                </a:xfrm>
                <a:prstGeom prst="can">
                  <a:avLst/>
                </a:prstGeom>
                <a:solidFill>
                  <a:srgbClr val="6FAD47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Demandes/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Justificatifs</a:t>
                  </a:r>
                </a:p>
              </p:txBody>
            </p:sp>
            <p:sp>
              <p:nvSpPr>
                <p:cNvPr id="125" name="Cylindre 112">
                  <a:extLst>
                    <a:ext uri="{FF2B5EF4-FFF2-40B4-BE49-F238E27FC236}">
                      <a16:creationId xmlns:a16="http://schemas.microsoft.com/office/drawing/2014/main" id="{6CF36125-EB7E-4BF7-BB7F-97626B446C27}"/>
                    </a:ext>
                  </a:extLst>
                </p:cNvPr>
                <p:cNvSpPr/>
                <p:nvPr/>
              </p:nvSpPr>
              <p:spPr>
                <a:xfrm>
                  <a:off x="2530894" y="3330736"/>
                  <a:ext cx="490953" cy="342808"/>
                </a:xfrm>
                <a:prstGeom prst="can">
                  <a:avLst/>
                </a:prstGeom>
                <a:solidFill>
                  <a:srgbClr val="6FAD47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Financeurs</a:t>
                  </a:r>
                </a:p>
              </p:txBody>
            </p:sp>
            <p:sp>
              <p:nvSpPr>
                <p:cNvPr id="126" name="Cylindre 113">
                  <a:extLst>
                    <a:ext uri="{FF2B5EF4-FFF2-40B4-BE49-F238E27FC236}">
                      <a16:creationId xmlns:a16="http://schemas.microsoft.com/office/drawing/2014/main" id="{A7CF2F15-411C-41CD-8470-E4E7CD4043A8}"/>
                    </a:ext>
                  </a:extLst>
                </p:cNvPr>
                <p:cNvSpPr/>
                <p:nvPr/>
              </p:nvSpPr>
              <p:spPr>
                <a:xfrm>
                  <a:off x="3090046" y="3330736"/>
                  <a:ext cx="490953" cy="342808"/>
                </a:xfrm>
                <a:prstGeom prst="can">
                  <a:avLst/>
                </a:prstGeom>
                <a:solidFill>
                  <a:srgbClr val="6FAD47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Dispositifs</a:t>
                  </a:r>
                </a:p>
              </p:txBody>
            </p:sp>
            <p:sp>
              <p:nvSpPr>
                <p:cNvPr id="127" name="Rectangle : coins arrondis 118">
                  <a:extLst>
                    <a:ext uri="{FF2B5EF4-FFF2-40B4-BE49-F238E27FC236}">
                      <a16:creationId xmlns:a16="http://schemas.microsoft.com/office/drawing/2014/main" id="{A5664091-46DD-41BD-A469-B0C635F24F83}"/>
                    </a:ext>
                  </a:extLst>
                </p:cNvPr>
                <p:cNvSpPr/>
                <p:nvPr/>
              </p:nvSpPr>
              <p:spPr>
                <a:xfrm rot="10800000" flipH="1" flipV="1">
                  <a:off x="2422050" y="3056483"/>
                  <a:ext cx="1834937" cy="686312"/>
                </a:xfrm>
                <a:prstGeom prst="roundRect">
                  <a:avLst>
                    <a:gd name="adj" fmla="val 8836"/>
                  </a:avLst>
                </a:prstGeom>
                <a:noFill/>
                <a:ln>
                  <a:solidFill>
                    <a:schemeClr val="accent1">
                      <a:shade val="50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D5D5D5">
                          <a:lumMod val="50000"/>
                        </a:srgbClr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rPr>
                    <a:t>Gestion des aides</a:t>
                  </a:r>
                </a:p>
              </p:txBody>
            </p:sp>
          </p:grpSp>
        </p:grpSp>
        <p:sp>
          <p:nvSpPr>
            <p:cNvPr id="17" name="Rectangle : coins arrondis 254">
              <a:extLst>
                <a:ext uri="{FF2B5EF4-FFF2-40B4-BE49-F238E27FC236}">
                  <a16:creationId xmlns:a16="http://schemas.microsoft.com/office/drawing/2014/main" id="{313468A0-A6F4-4120-94FF-792FCE474FA2}"/>
                </a:ext>
              </a:extLst>
            </p:cNvPr>
            <p:cNvSpPr/>
            <p:nvPr/>
          </p:nvSpPr>
          <p:spPr>
            <a:xfrm rot="10800000" flipH="1" flipV="1">
              <a:off x="6540752" y="2941531"/>
              <a:ext cx="3909536" cy="220215"/>
            </a:xfrm>
            <a:prstGeom prst="roundRect">
              <a:avLst>
                <a:gd name="adj" fmla="val 8836"/>
              </a:avLst>
            </a:prstGeom>
            <a:noFill/>
            <a:ln>
              <a:solidFill>
                <a:schemeClr val="accent1">
                  <a:shade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D5D5D5">
                      <a:lumMod val="50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iguillage des requêtes</a:t>
              </a:r>
            </a:p>
          </p:txBody>
        </p:sp>
        <p:pic>
          <p:nvPicPr>
            <p:cNvPr id="18" name="Image 351">
              <a:extLst>
                <a:ext uri="{FF2B5EF4-FFF2-40B4-BE49-F238E27FC236}">
                  <a16:creationId xmlns:a16="http://schemas.microsoft.com/office/drawing/2014/main" id="{2D48A5DD-AA7C-4CDB-B28D-51C45D35EE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793"/>
            <a:stretch/>
          </p:blipFill>
          <p:spPr>
            <a:xfrm rot="21299647">
              <a:off x="3791156" y="1419018"/>
              <a:ext cx="3606799" cy="533400"/>
            </a:xfrm>
            <a:prstGeom prst="rect">
              <a:avLst/>
            </a:prstGeom>
          </p:spPr>
        </p:pic>
        <p:pic>
          <p:nvPicPr>
            <p:cNvPr id="19" name="Image 362">
              <a:extLst>
                <a:ext uri="{FF2B5EF4-FFF2-40B4-BE49-F238E27FC236}">
                  <a16:creationId xmlns:a16="http://schemas.microsoft.com/office/drawing/2014/main" id="{EDA382A1-5B82-4216-BEDB-71AC399E63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9967"/>
            <a:stretch/>
          </p:blipFill>
          <p:spPr>
            <a:xfrm rot="20603253">
              <a:off x="3765581" y="1399964"/>
              <a:ext cx="1199378" cy="533400"/>
            </a:xfrm>
            <a:prstGeom prst="rect">
              <a:avLst/>
            </a:prstGeom>
          </p:spPr>
        </p:pic>
        <p:pic>
          <p:nvPicPr>
            <p:cNvPr id="20" name="Image 368">
              <a:extLst>
                <a:ext uri="{FF2B5EF4-FFF2-40B4-BE49-F238E27FC236}">
                  <a16:creationId xmlns:a16="http://schemas.microsoft.com/office/drawing/2014/main" id="{AC69931A-4F34-43E5-97BC-DE83B2DB66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23618"/>
            <a:stretch/>
          </p:blipFill>
          <p:spPr>
            <a:xfrm rot="1201001">
              <a:off x="7222937" y="1396757"/>
              <a:ext cx="950657" cy="533400"/>
            </a:xfrm>
            <a:prstGeom prst="rect">
              <a:avLst/>
            </a:prstGeom>
          </p:spPr>
        </p:pic>
        <p:pic>
          <p:nvPicPr>
            <p:cNvPr id="21" name="Image 380">
              <a:extLst>
                <a:ext uri="{FF2B5EF4-FFF2-40B4-BE49-F238E27FC236}">
                  <a16:creationId xmlns:a16="http://schemas.microsoft.com/office/drawing/2014/main" id="{67747904-D1BA-4015-BD38-27C01104B6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7926"/>
            <a:stretch/>
          </p:blipFill>
          <p:spPr>
            <a:xfrm rot="324647">
              <a:off x="4799409" y="1402121"/>
              <a:ext cx="3356002" cy="533400"/>
            </a:xfrm>
            <a:prstGeom prst="rect">
              <a:avLst/>
            </a:prstGeom>
          </p:spPr>
        </p:pic>
        <p:grpSp>
          <p:nvGrpSpPr>
            <p:cNvPr id="22" name="Groupe 381">
              <a:extLst>
                <a:ext uri="{FF2B5EF4-FFF2-40B4-BE49-F238E27FC236}">
                  <a16:creationId xmlns:a16="http://schemas.microsoft.com/office/drawing/2014/main" id="{8C7BD62A-8674-4571-B31F-7DE4F088FDB4}"/>
                </a:ext>
              </a:extLst>
            </p:cNvPr>
            <p:cNvGrpSpPr/>
            <p:nvPr/>
          </p:nvGrpSpPr>
          <p:grpSpPr>
            <a:xfrm>
              <a:off x="6719665" y="3113782"/>
              <a:ext cx="98335" cy="415774"/>
              <a:chOff x="3606429" y="1892398"/>
              <a:chExt cx="230588" cy="974954"/>
            </a:xfrm>
          </p:grpSpPr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3FF2AA87-2076-4F5B-B0B9-945ED2D68B62}"/>
                  </a:ext>
                </a:extLst>
              </p:cNvPr>
              <p:cNvSpPr/>
              <p:nvPr/>
            </p:nvSpPr>
            <p:spPr>
              <a:xfrm>
                <a:off x="3680431" y="2102670"/>
                <a:ext cx="79199" cy="764682"/>
              </a:xfrm>
              <a:prstGeom prst="rect">
                <a:avLst/>
              </a:prstGeom>
              <a:solidFill>
                <a:srgbClr val="6FAD47"/>
              </a:solidFill>
              <a:ln w="222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0" name="Bouée 383">
                <a:extLst>
                  <a:ext uri="{FF2B5EF4-FFF2-40B4-BE49-F238E27FC236}">
                    <a16:creationId xmlns:a16="http://schemas.microsoft.com/office/drawing/2014/main" id="{87EB7AEE-5AC0-490B-B406-FD702B87035E}"/>
                  </a:ext>
                </a:extLst>
              </p:cNvPr>
              <p:cNvSpPr/>
              <p:nvPr/>
            </p:nvSpPr>
            <p:spPr>
              <a:xfrm>
                <a:off x="3606429" y="1892398"/>
                <a:ext cx="230588" cy="230586"/>
              </a:xfrm>
              <a:prstGeom prst="donut">
                <a:avLst/>
              </a:prstGeom>
              <a:solidFill>
                <a:srgbClr val="6FAD4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3" name="Groupe 384">
              <a:extLst>
                <a:ext uri="{FF2B5EF4-FFF2-40B4-BE49-F238E27FC236}">
                  <a16:creationId xmlns:a16="http://schemas.microsoft.com/office/drawing/2014/main" id="{E992C89E-9BFB-45A3-A7D6-FCABC2F71B00}"/>
                </a:ext>
              </a:extLst>
            </p:cNvPr>
            <p:cNvGrpSpPr/>
            <p:nvPr/>
          </p:nvGrpSpPr>
          <p:grpSpPr>
            <a:xfrm>
              <a:off x="7738143" y="3113782"/>
              <a:ext cx="98335" cy="415774"/>
              <a:chOff x="3606429" y="1892398"/>
              <a:chExt cx="230588" cy="974954"/>
            </a:xfrm>
          </p:grpSpPr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083A1B75-6A8E-4E96-8F52-8A87019CE6B5}"/>
                  </a:ext>
                </a:extLst>
              </p:cNvPr>
              <p:cNvSpPr/>
              <p:nvPr/>
            </p:nvSpPr>
            <p:spPr>
              <a:xfrm>
                <a:off x="3680431" y="2102670"/>
                <a:ext cx="79199" cy="764682"/>
              </a:xfrm>
              <a:prstGeom prst="rect">
                <a:avLst/>
              </a:prstGeom>
              <a:solidFill>
                <a:srgbClr val="6FAD47"/>
              </a:solidFill>
              <a:ln w="222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8" name="Bouée 386">
                <a:extLst>
                  <a:ext uri="{FF2B5EF4-FFF2-40B4-BE49-F238E27FC236}">
                    <a16:creationId xmlns:a16="http://schemas.microsoft.com/office/drawing/2014/main" id="{44E73D47-4768-4890-955B-064CFACE50D8}"/>
                  </a:ext>
                </a:extLst>
              </p:cNvPr>
              <p:cNvSpPr/>
              <p:nvPr/>
            </p:nvSpPr>
            <p:spPr>
              <a:xfrm>
                <a:off x="3606429" y="1892398"/>
                <a:ext cx="230588" cy="230586"/>
              </a:xfrm>
              <a:prstGeom prst="donut">
                <a:avLst/>
              </a:prstGeom>
              <a:solidFill>
                <a:srgbClr val="6FAD4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4" name="Groupe 391">
              <a:extLst>
                <a:ext uri="{FF2B5EF4-FFF2-40B4-BE49-F238E27FC236}">
                  <a16:creationId xmlns:a16="http://schemas.microsoft.com/office/drawing/2014/main" id="{46EDE53C-5D1B-4ACF-B9B9-DE8260409FCD}"/>
                </a:ext>
              </a:extLst>
            </p:cNvPr>
            <p:cNvGrpSpPr/>
            <p:nvPr/>
          </p:nvGrpSpPr>
          <p:grpSpPr>
            <a:xfrm>
              <a:off x="8741752" y="3113782"/>
              <a:ext cx="98335" cy="415774"/>
              <a:chOff x="3606429" y="1892398"/>
              <a:chExt cx="230588" cy="974954"/>
            </a:xfrm>
          </p:grpSpPr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ED486CAF-A67A-44D8-BF90-5835184E13BA}"/>
                  </a:ext>
                </a:extLst>
              </p:cNvPr>
              <p:cNvSpPr/>
              <p:nvPr/>
            </p:nvSpPr>
            <p:spPr>
              <a:xfrm>
                <a:off x="3680431" y="2102670"/>
                <a:ext cx="79199" cy="764682"/>
              </a:xfrm>
              <a:prstGeom prst="rect">
                <a:avLst/>
              </a:prstGeom>
              <a:solidFill>
                <a:srgbClr val="6FAD47"/>
              </a:solidFill>
              <a:ln w="222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6" name="Bouée 393">
                <a:extLst>
                  <a:ext uri="{FF2B5EF4-FFF2-40B4-BE49-F238E27FC236}">
                    <a16:creationId xmlns:a16="http://schemas.microsoft.com/office/drawing/2014/main" id="{531FB4D9-E712-4E6F-A47D-802357607778}"/>
                  </a:ext>
                </a:extLst>
              </p:cNvPr>
              <p:cNvSpPr/>
              <p:nvPr/>
            </p:nvSpPr>
            <p:spPr>
              <a:xfrm>
                <a:off x="3606429" y="1892398"/>
                <a:ext cx="230588" cy="230586"/>
              </a:xfrm>
              <a:prstGeom prst="donut">
                <a:avLst/>
              </a:prstGeom>
              <a:solidFill>
                <a:srgbClr val="6FAD4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5" name="Groupe 394">
              <a:extLst>
                <a:ext uri="{FF2B5EF4-FFF2-40B4-BE49-F238E27FC236}">
                  <a16:creationId xmlns:a16="http://schemas.microsoft.com/office/drawing/2014/main" id="{477C4956-5E1F-4C6D-8462-B1A2BE1E3998}"/>
                </a:ext>
              </a:extLst>
            </p:cNvPr>
            <p:cNvGrpSpPr/>
            <p:nvPr/>
          </p:nvGrpSpPr>
          <p:grpSpPr>
            <a:xfrm>
              <a:off x="9760230" y="3113782"/>
              <a:ext cx="98335" cy="415774"/>
              <a:chOff x="3606429" y="1892398"/>
              <a:chExt cx="230588" cy="974954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6DFB153A-EEF2-43BB-B1E1-DCD6D930A676}"/>
                  </a:ext>
                </a:extLst>
              </p:cNvPr>
              <p:cNvSpPr/>
              <p:nvPr/>
            </p:nvSpPr>
            <p:spPr>
              <a:xfrm>
                <a:off x="3680431" y="2102670"/>
                <a:ext cx="79199" cy="764682"/>
              </a:xfrm>
              <a:prstGeom prst="rect">
                <a:avLst/>
              </a:prstGeom>
              <a:solidFill>
                <a:srgbClr val="6FAD47"/>
              </a:solidFill>
              <a:ln w="222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4" name="Bouée 396">
                <a:extLst>
                  <a:ext uri="{FF2B5EF4-FFF2-40B4-BE49-F238E27FC236}">
                    <a16:creationId xmlns:a16="http://schemas.microsoft.com/office/drawing/2014/main" id="{95C10FF2-96FB-40CE-BEBE-1F0DD2BABB73}"/>
                  </a:ext>
                </a:extLst>
              </p:cNvPr>
              <p:cNvSpPr/>
              <p:nvPr/>
            </p:nvSpPr>
            <p:spPr>
              <a:xfrm>
                <a:off x="3606429" y="1892398"/>
                <a:ext cx="230588" cy="230586"/>
              </a:xfrm>
              <a:prstGeom prst="donut">
                <a:avLst/>
              </a:prstGeom>
              <a:solidFill>
                <a:srgbClr val="6FAD4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6" name="Rectangle : coins arrondis 131">
              <a:extLst>
                <a:ext uri="{FF2B5EF4-FFF2-40B4-BE49-F238E27FC236}">
                  <a16:creationId xmlns:a16="http://schemas.microsoft.com/office/drawing/2014/main" id="{C3B9E002-A87D-4916-B0F5-4E2FD8638454}"/>
                </a:ext>
              </a:extLst>
            </p:cNvPr>
            <p:cNvSpPr/>
            <p:nvPr/>
          </p:nvSpPr>
          <p:spPr>
            <a:xfrm rot="10800000" flipH="1" flipV="1">
              <a:off x="4473004" y="3557564"/>
              <a:ext cx="6055476" cy="916785"/>
            </a:xfrm>
            <a:prstGeom prst="roundRect">
              <a:avLst>
                <a:gd name="adj" fmla="val 8836"/>
              </a:avLst>
            </a:prstGeom>
            <a:solidFill>
              <a:srgbClr val="C9EAB5"/>
            </a:solidFill>
            <a:ln>
              <a:solidFill>
                <a:schemeClr val="accent1">
                  <a:shade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1200" cap="none" spc="0" normalizeH="0" baseline="0" noProof="0">
                  <a:ln>
                    <a:noFill/>
                  </a:ln>
                  <a:solidFill>
                    <a:srgbClr val="D5D5D5">
                      <a:lumMod val="50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Services d’intégration</a:t>
              </a:r>
            </a:p>
          </p:txBody>
        </p:sp>
        <p:grpSp>
          <p:nvGrpSpPr>
            <p:cNvPr id="27" name="Groupe 174">
              <a:extLst>
                <a:ext uri="{FF2B5EF4-FFF2-40B4-BE49-F238E27FC236}">
                  <a16:creationId xmlns:a16="http://schemas.microsoft.com/office/drawing/2014/main" id="{6FF055FC-BCDD-4649-93D5-96CFD3BCF36C}"/>
                </a:ext>
              </a:extLst>
            </p:cNvPr>
            <p:cNvGrpSpPr/>
            <p:nvPr/>
          </p:nvGrpSpPr>
          <p:grpSpPr>
            <a:xfrm>
              <a:off x="6545833" y="3302826"/>
              <a:ext cx="901824" cy="844488"/>
              <a:chOff x="6469365" y="3617804"/>
              <a:chExt cx="901824" cy="844488"/>
            </a:xfrm>
          </p:grpSpPr>
          <p:sp>
            <p:nvSpPr>
              <p:cNvPr id="104" name="Rectangle : coins arrondis 255">
                <a:extLst>
                  <a:ext uri="{FF2B5EF4-FFF2-40B4-BE49-F238E27FC236}">
                    <a16:creationId xmlns:a16="http://schemas.microsoft.com/office/drawing/2014/main" id="{74118CF4-5D74-40AA-998D-35AADA1696FB}"/>
                  </a:ext>
                </a:extLst>
              </p:cNvPr>
              <p:cNvSpPr/>
              <p:nvPr/>
            </p:nvSpPr>
            <p:spPr>
              <a:xfrm rot="10800000" flipH="1" flipV="1">
                <a:off x="6506943" y="3655382"/>
                <a:ext cx="864246" cy="806910"/>
              </a:xfrm>
              <a:prstGeom prst="roundRect">
                <a:avLst>
                  <a:gd name="adj" fmla="val 8836"/>
                </a:avLst>
              </a:prstGeom>
              <a:solidFill>
                <a:srgbClr val="C9EAB5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D5D5D5">
                      <a:lumMod val="50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5" name="Rectangle : coins arrondis 173">
                <a:extLst>
                  <a:ext uri="{FF2B5EF4-FFF2-40B4-BE49-F238E27FC236}">
                    <a16:creationId xmlns:a16="http://schemas.microsoft.com/office/drawing/2014/main" id="{8CD1C0C6-79C9-4130-BD3E-20518B5C199B}"/>
                  </a:ext>
                </a:extLst>
              </p:cNvPr>
              <p:cNvSpPr/>
              <p:nvPr/>
            </p:nvSpPr>
            <p:spPr>
              <a:xfrm rot="10800000" flipH="1" flipV="1">
                <a:off x="6469365" y="3617804"/>
                <a:ext cx="864246" cy="806909"/>
              </a:xfrm>
              <a:prstGeom prst="roundRect">
                <a:avLst>
                  <a:gd name="adj" fmla="val 8836"/>
                </a:avLst>
              </a:prstGeom>
              <a:solidFill>
                <a:srgbClr val="C9EAB5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D5D5D5">
                        <a:lumMod val="5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Adaptateur générique</a:t>
                </a:r>
              </a:p>
            </p:txBody>
          </p:sp>
          <p:grpSp>
            <p:nvGrpSpPr>
              <p:cNvPr id="106" name="Groupe 152">
                <a:extLst>
                  <a:ext uri="{FF2B5EF4-FFF2-40B4-BE49-F238E27FC236}">
                    <a16:creationId xmlns:a16="http://schemas.microsoft.com/office/drawing/2014/main" id="{18FE435D-9F63-4FC5-B056-D2C524C34978}"/>
                  </a:ext>
                </a:extLst>
              </p:cNvPr>
              <p:cNvGrpSpPr/>
              <p:nvPr/>
            </p:nvGrpSpPr>
            <p:grpSpPr>
              <a:xfrm>
                <a:off x="6471829" y="3833068"/>
                <a:ext cx="811337" cy="550876"/>
                <a:chOff x="3542619" y="2166896"/>
                <a:chExt cx="4787390" cy="3250508"/>
              </a:xfrm>
            </p:grpSpPr>
            <p:grpSp>
              <p:nvGrpSpPr>
                <p:cNvPr id="107" name="Groupe 146">
                  <a:extLst>
                    <a:ext uri="{FF2B5EF4-FFF2-40B4-BE49-F238E27FC236}">
                      <a16:creationId xmlns:a16="http://schemas.microsoft.com/office/drawing/2014/main" id="{8FFE864D-549D-4B43-A223-E6A5216C4179}"/>
                    </a:ext>
                  </a:extLst>
                </p:cNvPr>
                <p:cNvGrpSpPr/>
                <p:nvPr/>
              </p:nvGrpSpPr>
              <p:grpSpPr>
                <a:xfrm>
                  <a:off x="5349743" y="2437138"/>
                  <a:ext cx="2980266" cy="2980266"/>
                  <a:chOff x="3753620" y="2031645"/>
                  <a:chExt cx="2980266" cy="2980266"/>
                </a:xfrm>
              </p:grpSpPr>
              <p:sp>
                <p:nvSpPr>
                  <p:cNvPr id="111" name="Forme 150">
                    <a:extLst>
                      <a:ext uri="{FF2B5EF4-FFF2-40B4-BE49-F238E27FC236}">
                        <a16:creationId xmlns:a16="http://schemas.microsoft.com/office/drawing/2014/main" id="{60D81B2E-25C9-4300-9489-5E2D126DFE4F}"/>
                      </a:ext>
                    </a:extLst>
                  </p:cNvPr>
                  <p:cNvSpPr/>
                  <p:nvPr/>
                </p:nvSpPr>
                <p:spPr>
                  <a:xfrm>
                    <a:off x="3753620" y="2031645"/>
                    <a:ext cx="2980266" cy="2980266"/>
                  </a:xfrm>
                  <a:prstGeom prst="gear9">
                    <a:avLst/>
                  </a:prstGeom>
                  <a:solidFill>
                    <a:schemeClr val="accent1">
                      <a:lumMod val="40000"/>
                      <a:lumOff val="60000"/>
                    </a:schemeClr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112" name="Forme 4">
                    <a:extLst>
                      <a:ext uri="{FF2B5EF4-FFF2-40B4-BE49-F238E27FC236}">
                        <a16:creationId xmlns:a16="http://schemas.microsoft.com/office/drawing/2014/main" id="{A03D5BAA-FC32-4200-9255-16FF501E5CBC}"/>
                      </a:ext>
                    </a:extLst>
                  </p:cNvPr>
                  <p:cNvSpPr txBox="1"/>
                  <p:nvPr/>
                </p:nvSpPr>
                <p:spPr>
                  <a:xfrm>
                    <a:off x="4016068" y="2754500"/>
                    <a:ext cx="2534268" cy="1531918"/>
                  </a:xfrm>
                  <a:prstGeom prst="rect">
                    <a:avLst/>
                  </a:prstGeom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marL="0" marR="0" lvl="0" indent="0" algn="ctr" defTabSz="2844800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108" name="Groupe 147">
                  <a:extLst>
                    <a:ext uri="{FF2B5EF4-FFF2-40B4-BE49-F238E27FC236}">
                      <a16:creationId xmlns:a16="http://schemas.microsoft.com/office/drawing/2014/main" id="{D0C944A9-B74E-4386-9F0B-9037FFFF010F}"/>
                    </a:ext>
                  </a:extLst>
                </p:cNvPr>
                <p:cNvGrpSpPr/>
                <p:nvPr/>
              </p:nvGrpSpPr>
              <p:grpSpPr>
                <a:xfrm>
                  <a:off x="3542619" y="2166896"/>
                  <a:ext cx="2167466" cy="2167466"/>
                  <a:chOff x="1946496" y="1761403"/>
                  <a:chExt cx="2167466" cy="2167466"/>
                </a:xfrm>
              </p:grpSpPr>
              <p:sp>
                <p:nvSpPr>
                  <p:cNvPr id="109" name="Forme 148">
                    <a:extLst>
                      <a:ext uri="{FF2B5EF4-FFF2-40B4-BE49-F238E27FC236}">
                        <a16:creationId xmlns:a16="http://schemas.microsoft.com/office/drawing/2014/main" id="{C5D2B36D-423D-4ABB-8913-E1ABD440BE86}"/>
                      </a:ext>
                    </a:extLst>
                  </p:cNvPr>
                  <p:cNvSpPr/>
                  <p:nvPr/>
                </p:nvSpPr>
                <p:spPr>
                  <a:xfrm>
                    <a:off x="1946496" y="1761403"/>
                    <a:ext cx="2167466" cy="2167466"/>
                  </a:xfrm>
                  <a:prstGeom prst="gear6">
                    <a:avLst/>
                  </a:prstGeom>
                  <a:solidFill>
                    <a:srgbClr val="6FAD47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110" name="Forme 6">
                    <a:extLst>
                      <a:ext uri="{FF2B5EF4-FFF2-40B4-BE49-F238E27FC236}">
                        <a16:creationId xmlns:a16="http://schemas.microsoft.com/office/drawing/2014/main" id="{7089AB8C-83CC-482F-B594-723C156FB605}"/>
                      </a:ext>
                    </a:extLst>
                  </p:cNvPr>
                  <p:cNvSpPr txBox="1"/>
                  <p:nvPr/>
                </p:nvSpPr>
                <p:spPr>
                  <a:xfrm>
                    <a:off x="2725465" y="2369419"/>
                    <a:ext cx="1076136" cy="1069539"/>
                  </a:xfrm>
                  <a:prstGeom prst="rect">
                    <a:avLst/>
                  </a:prstGeom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marL="0" marR="0" lvl="0" indent="0" algn="ctr" defTabSz="2844800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fr-FR" sz="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t> </a:t>
                    </a:r>
                  </a:p>
                </p:txBody>
              </p:sp>
            </p:grpSp>
          </p:grpSp>
        </p:grpSp>
        <p:grpSp>
          <p:nvGrpSpPr>
            <p:cNvPr id="28" name="Groupe 288">
              <a:extLst>
                <a:ext uri="{FF2B5EF4-FFF2-40B4-BE49-F238E27FC236}">
                  <a16:creationId xmlns:a16="http://schemas.microsoft.com/office/drawing/2014/main" id="{140C49EF-2233-4E3F-A03D-216C1AC36461}"/>
                </a:ext>
              </a:extLst>
            </p:cNvPr>
            <p:cNvGrpSpPr/>
            <p:nvPr/>
          </p:nvGrpSpPr>
          <p:grpSpPr>
            <a:xfrm>
              <a:off x="7555885" y="3302826"/>
              <a:ext cx="901824" cy="844488"/>
              <a:chOff x="6469365" y="3617804"/>
              <a:chExt cx="901824" cy="844488"/>
            </a:xfrm>
          </p:grpSpPr>
          <p:sp>
            <p:nvSpPr>
              <p:cNvPr id="95" name="Rectangle : coins arrondis 289">
                <a:extLst>
                  <a:ext uri="{FF2B5EF4-FFF2-40B4-BE49-F238E27FC236}">
                    <a16:creationId xmlns:a16="http://schemas.microsoft.com/office/drawing/2014/main" id="{6597D394-84FD-4B8B-A16C-FB49864EED7B}"/>
                  </a:ext>
                </a:extLst>
              </p:cNvPr>
              <p:cNvSpPr/>
              <p:nvPr/>
            </p:nvSpPr>
            <p:spPr>
              <a:xfrm rot="10800000" flipH="1" flipV="1">
                <a:off x="6506943" y="3655382"/>
                <a:ext cx="864246" cy="806910"/>
              </a:xfrm>
              <a:prstGeom prst="roundRect">
                <a:avLst>
                  <a:gd name="adj" fmla="val 8836"/>
                </a:avLst>
              </a:prstGeom>
              <a:solidFill>
                <a:srgbClr val="C9EAB5"/>
              </a:solidFill>
              <a:ln>
                <a:solidFill>
                  <a:schemeClr val="accent1">
                    <a:shade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D5D5D5">
                      <a:lumMod val="50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6" name="Rectangle : coins arrondis 290">
                <a:extLst>
                  <a:ext uri="{FF2B5EF4-FFF2-40B4-BE49-F238E27FC236}">
                    <a16:creationId xmlns:a16="http://schemas.microsoft.com/office/drawing/2014/main" id="{8D8C1A12-571F-496F-AF66-438457F62913}"/>
                  </a:ext>
                </a:extLst>
              </p:cNvPr>
              <p:cNvSpPr/>
              <p:nvPr/>
            </p:nvSpPr>
            <p:spPr>
              <a:xfrm rot="10800000" flipH="1" flipV="1">
                <a:off x="6469365" y="3617804"/>
                <a:ext cx="864246" cy="806909"/>
              </a:xfrm>
              <a:prstGeom prst="roundRect">
                <a:avLst>
                  <a:gd name="adj" fmla="val 8836"/>
                </a:avLst>
              </a:prstGeom>
              <a:solidFill>
                <a:srgbClr val="C9EAB5"/>
              </a:solidFill>
              <a:ln>
                <a:solidFill>
                  <a:schemeClr val="accent1">
                    <a:shade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D5D5D5">
                        <a:lumMod val="5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Adaptateurs MSP2</a:t>
                </a:r>
              </a:p>
            </p:txBody>
          </p:sp>
          <p:grpSp>
            <p:nvGrpSpPr>
              <p:cNvPr id="97" name="Groupe 291">
                <a:extLst>
                  <a:ext uri="{FF2B5EF4-FFF2-40B4-BE49-F238E27FC236}">
                    <a16:creationId xmlns:a16="http://schemas.microsoft.com/office/drawing/2014/main" id="{4A90FE6E-905A-4719-B747-D0673D0481C9}"/>
                  </a:ext>
                </a:extLst>
              </p:cNvPr>
              <p:cNvGrpSpPr/>
              <p:nvPr/>
            </p:nvGrpSpPr>
            <p:grpSpPr>
              <a:xfrm>
                <a:off x="6512584" y="3755775"/>
                <a:ext cx="770582" cy="628169"/>
                <a:chOff x="3783098" y="1710820"/>
                <a:chExt cx="4546911" cy="3706584"/>
              </a:xfrm>
            </p:grpSpPr>
            <p:grpSp>
              <p:nvGrpSpPr>
                <p:cNvPr id="98" name="Groupe 292">
                  <a:extLst>
                    <a:ext uri="{FF2B5EF4-FFF2-40B4-BE49-F238E27FC236}">
                      <a16:creationId xmlns:a16="http://schemas.microsoft.com/office/drawing/2014/main" id="{D2F830D7-5829-499C-BE36-CA62CD132C4A}"/>
                    </a:ext>
                  </a:extLst>
                </p:cNvPr>
                <p:cNvGrpSpPr/>
                <p:nvPr/>
              </p:nvGrpSpPr>
              <p:grpSpPr>
                <a:xfrm>
                  <a:off x="5349743" y="2437138"/>
                  <a:ext cx="2980266" cy="2980266"/>
                  <a:chOff x="3753620" y="2031645"/>
                  <a:chExt cx="2980266" cy="2980266"/>
                </a:xfrm>
              </p:grpSpPr>
              <p:sp>
                <p:nvSpPr>
                  <p:cNvPr id="102" name="Forme 296">
                    <a:extLst>
                      <a:ext uri="{FF2B5EF4-FFF2-40B4-BE49-F238E27FC236}">
                        <a16:creationId xmlns:a16="http://schemas.microsoft.com/office/drawing/2014/main" id="{808EB0D2-F744-4760-871F-7A076FF9CE73}"/>
                      </a:ext>
                    </a:extLst>
                  </p:cNvPr>
                  <p:cNvSpPr/>
                  <p:nvPr/>
                </p:nvSpPr>
                <p:spPr>
                  <a:xfrm>
                    <a:off x="3753620" y="2031645"/>
                    <a:ext cx="2980266" cy="2980266"/>
                  </a:xfrm>
                  <a:prstGeom prst="gear9">
                    <a:avLst/>
                  </a:prstGeom>
                  <a:solidFill>
                    <a:srgbClr val="00D1D1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103" name="Forme 4">
                    <a:extLst>
                      <a:ext uri="{FF2B5EF4-FFF2-40B4-BE49-F238E27FC236}">
                        <a16:creationId xmlns:a16="http://schemas.microsoft.com/office/drawing/2014/main" id="{0CAAC7EA-F558-42C4-B4E9-0A1D38AACC90}"/>
                      </a:ext>
                    </a:extLst>
                  </p:cNvPr>
                  <p:cNvSpPr txBox="1"/>
                  <p:nvPr/>
                </p:nvSpPr>
                <p:spPr>
                  <a:xfrm>
                    <a:off x="4392232" y="2594647"/>
                    <a:ext cx="1781933" cy="1531918"/>
                  </a:xfrm>
                  <a:prstGeom prst="rect">
                    <a:avLst/>
                  </a:prstGeom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81280" tIns="81280" rIns="81280" bIns="81280" numCol="1" spcCol="1270" anchor="ctr" anchorCtr="0">
                    <a:noAutofit/>
                  </a:bodyPr>
                  <a:lstStyle/>
                  <a:p>
                    <a:pPr marL="0" marR="0" lvl="0" indent="0" algn="ctr" defTabSz="2844800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6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99" name="Groupe 293">
                  <a:extLst>
                    <a:ext uri="{FF2B5EF4-FFF2-40B4-BE49-F238E27FC236}">
                      <a16:creationId xmlns:a16="http://schemas.microsoft.com/office/drawing/2014/main" id="{FEAFC4E8-02CE-480D-BF70-AA8C764BE45B}"/>
                    </a:ext>
                  </a:extLst>
                </p:cNvPr>
                <p:cNvGrpSpPr/>
                <p:nvPr/>
              </p:nvGrpSpPr>
              <p:grpSpPr>
                <a:xfrm>
                  <a:off x="3783098" y="1710820"/>
                  <a:ext cx="2167466" cy="2167466"/>
                  <a:chOff x="2186975" y="1305327"/>
                  <a:chExt cx="2167466" cy="2167466"/>
                </a:xfrm>
              </p:grpSpPr>
              <p:sp>
                <p:nvSpPr>
                  <p:cNvPr id="100" name="Forme 294">
                    <a:extLst>
                      <a:ext uri="{FF2B5EF4-FFF2-40B4-BE49-F238E27FC236}">
                        <a16:creationId xmlns:a16="http://schemas.microsoft.com/office/drawing/2014/main" id="{254F32A5-1CEB-48A8-85B8-74383FE634B6}"/>
                      </a:ext>
                    </a:extLst>
                  </p:cNvPr>
                  <p:cNvSpPr/>
                  <p:nvPr/>
                </p:nvSpPr>
                <p:spPr>
                  <a:xfrm>
                    <a:off x="2186975" y="1305327"/>
                    <a:ext cx="2167466" cy="2167466"/>
                  </a:xfrm>
                  <a:prstGeom prst="gear6">
                    <a:avLst/>
                  </a:prstGeom>
                  <a:solidFill>
                    <a:srgbClr val="6FAD47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101" name="Forme 6">
                    <a:extLst>
                      <a:ext uri="{FF2B5EF4-FFF2-40B4-BE49-F238E27FC236}">
                        <a16:creationId xmlns:a16="http://schemas.microsoft.com/office/drawing/2014/main" id="{A705A363-E69F-4B2E-9249-73AFFE1AAE87}"/>
                      </a:ext>
                    </a:extLst>
                  </p:cNvPr>
                  <p:cNvSpPr txBox="1"/>
                  <p:nvPr/>
                </p:nvSpPr>
                <p:spPr>
                  <a:xfrm>
                    <a:off x="2772086" y="1854290"/>
                    <a:ext cx="1076136" cy="1069539"/>
                  </a:xfrm>
                  <a:prstGeom prst="rect">
                    <a:avLst/>
                  </a:prstGeom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81280" tIns="81280" rIns="81280" bIns="81280" numCol="1" spcCol="1270" anchor="ctr" anchorCtr="0">
                    <a:noAutofit/>
                  </a:bodyPr>
                  <a:lstStyle/>
                  <a:p>
                    <a:pPr marL="0" marR="0" lvl="0" indent="0" algn="ctr" defTabSz="2844800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fr-FR" sz="6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t> </a:t>
                    </a:r>
                  </a:p>
                </p:txBody>
              </p:sp>
            </p:grpSp>
          </p:grpSp>
        </p:grpSp>
        <p:grpSp>
          <p:nvGrpSpPr>
            <p:cNvPr id="29" name="Groupe 298">
              <a:extLst>
                <a:ext uri="{FF2B5EF4-FFF2-40B4-BE49-F238E27FC236}">
                  <a16:creationId xmlns:a16="http://schemas.microsoft.com/office/drawing/2014/main" id="{26AC75C2-7972-410B-AB5A-8FFDBF146C5D}"/>
                </a:ext>
              </a:extLst>
            </p:cNvPr>
            <p:cNvGrpSpPr/>
            <p:nvPr/>
          </p:nvGrpSpPr>
          <p:grpSpPr>
            <a:xfrm>
              <a:off x="8565936" y="3302826"/>
              <a:ext cx="901824" cy="844488"/>
              <a:chOff x="6469365" y="3617804"/>
              <a:chExt cx="901824" cy="844488"/>
            </a:xfrm>
          </p:grpSpPr>
          <p:sp>
            <p:nvSpPr>
              <p:cNvPr id="86" name="Rectangle : coins arrondis 299">
                <a:extLst>
                  <a:ext uri="{FF2B5EF4-FFF2-40B4-BE49-F238E27FC236}">
                    <a16:creationId xmlns:a16="http://schemas.microsoft.com/office/drawing/2014/main" id="{6B1019C5-18C0-40B1-A2AD-2470DE98542E}"/>
                  </a:ext>
                </a:extLst>
              </p:cNvPr>
              <p:cNvSpPr/>
              <p:nvPr/>
            </p:nvSpPr>
            <p:spPr>
              <a:xfrm rot="10800000" flipH="1" flipV="1">
                <a:off x="6506943" y="3655382"/>
                <a:ext cx="864246" cy="806910"/>
              </a:xfrm>
              <a:prstGeom prst="roundRect">
                <a:avLst>
                  <a:gd name="adj" fmla="val 8836"/>
                </a:avLst>
              </a:prstGeom>
              <a:solidFill>
                <a:srgbClr val="C9EAB5"/>
              </a:solidFill>
              <a:ln>
                <a:solidFill>
                  <a:schemeClr val="accent1">
                    <a:shade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D5D5D5">
                      <a:lumMod val="50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7" name="Rectangle : coins arrondis 300">
                <a:extLst>
                  <a:ext uri="{FF2B5EF4-FFF2-40B4-BE49-F238E27FC236}">
                    <a16:creationId xmlns:a16="http://schemas.microsoft.com/office/drawing/2014/main" id="{7C7BFB63-3815-4B26-A75D-6F28CB300142}"/>
                  </a:ext>
                </a:extLst>
              </p:cNvPr>
              <p:cNvSpPr/>
              <p:nvPr/>
            </p:nvSpPr>
            <p:spPr>
              <a:xfrm rot="10800000" flipH="1" flipV="1">
                <a:off x="6469365" y="3617804"/>
                <a:ext cx="864246" cy="806909"/>
              </a:xfrm>
              <a:prstGeom prst="roundRect">
                <a:avLst>
                  <a:gd name="adj" fmla="val 8836"/>
                </a:avLst>
              </a:prstGeom>
              <a:solidFill>
                <a:srgbClr val="C9EAB5"/>
              </a:solidFill>
              <a:ln>
                <a:solidFill>
                  <a:schemeClr val="accent1">
                    <a:shade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D5D5D5">
                        <a:lumMod val="5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Adaptateurs MSP3</a:t>
                </a:r>
              </a:p>
            </p:txBody>
          </p:sp>
          <p:grpSp>
            <p:nvGrpSpPr>
              <p:cNvPr id="88" name="Groupe 301">
                <a:extLst>
                  <a:ext uri="{FF2B5EF4-FFF2-40B4-BE49-F238E27FC236}">
                    <a16:creationId xmlns:a16="http://schemas.microsoft.com/office/drawing/2014/main" id="{25BEE348-DC33-4F5D-9AA9-DE4BF13BB1D4}"/>
                  </a:ext>
                </a:extLst>
              </p:cNvPr>
              <p:cNvGrpSpPr/>
              <p:nvPr/>
            </p:nvGrpSpPr>
            <p:grpSpPr>
              <a:xfrm>
                <a:off x="6512584" y="3755775"/>
                <a:ext cx="770582" cy="628169"/>
                <a:chOff x="3783098" y="1710820"/>
                <a:chExt cx="4546911" cy="3706584"/>
              </a:xfrm>
            </p:grpSpPr>
            <p:grpSp>
              <p:nvGrpSpPr>
                <p:cNvPr id="89" name="Groupe 302">
                  <a:extLst>
                    <a:ext uri="{FF2B5EF4-FFF2-40B4-BE49-F238E27FC236}">
                      <a16:creationId xmlns:a16="http://schemas.microsoft.com/office/drawing/2014/main" id="{4C6162BF-0151-4A96-BD0A-246E8E97F5D5}"/>
                    </a:ext>
                  </a:extLst>
                </p:cNvPr>
                <p:cNvGrpSpPr/>
                <p:nvPr/>
              </p:nvGrpSpPr>
              <p:grpSpPr>
                <a:xfrm>
                  <a:off x="5349743" y="2437138"/>
                  <a:ext cx="2980266" cy="2980266"/>
                  <a:chOff x="3753620" y="2031645"/>
                  <a:chExt cx="2980266" cy="2980266"/>
                </a:xfrm>
              </p:grpSpPr>
              <p:sp>
                <p:nvSpPr>
                  <p:cNvPr id="93" name="Forme 306">
                    <a:extLst>
                      <a:ext uri="{FF2B5EF4-FFF2-40B4-BE49-F238E27FC236}">
                        <a16:creationId xmlns:a16="http://schemas.microsoft.com/office/drawing/2014/main" id="{A4F5ACCC-809D-4F6D-9587-DAC409177986}"/>
                      </a:ext>
                    </a:extLst>
                  </p:cNvPr>
                  <p:cNvSpPr/>
                  <p:nvPr/>
                </p:nvSpPr>
                <p:spPr>
                  <a:xfrm>
                    <a:off x="3753620" y="2031645"/>
                    <a:ext cx="2980266" cy="2980266"/>
                  </a:xfrm>
                  <a:prstGeom prst="gear9">
                    <a:avLst/>
                  </a:prstGeom>
                  <a:solidFill>
                    <a:srgbClr val="00D1D1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94" name="Forme 4">
                    <a:extLst>
                      <a:ext uri="{FF2B5EF4-FFF2-40B4-BE49-F238E27FC236}">
                        <a16:creationId xmlns:a16="http://schemas.microsoft.com/office/drawing/2014/main" id="{5911FACE-70B3-4D34-8B7A-68D14FAC1650}"/>
                      </a:ext>
                    </a:extLst>
                  </p:cNvPr>
                  <p:cNvSpPr txBox="1"/>
                  <p:nvPr/>
                </p:nvSpPr>
                <p:spPr>
                  <a:xfrm>
                    <a:off x="4392232" y="2594647"/>
                    <a:ext cx="1781933" cy="1531918"/>
                  </a:xfrm>
                  <a:prstGeom prst="rect">
                    <a:avLst/>
                  </a:prstGeom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81280" tIns="81280" rIns="81280" bIns="81280" numCol="1" spcCol="1270" anchor="ctr" anchorCtr="0">
                    <a:noAutofit/>
                  </a:bodyPr>
                  <a:lstStyle/>
                  <a:p>
                    <a:pPr marL="0" marR="0" lvl="0" indent="0" algn="ctr" defTabSz="2844800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6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90" name="Groupe 303">
                  <a:extLst>
                    <a:ext uri="{FF2B5EF4-FFF2-40B4-BE49-F238E27FC236}">
                      <a16:creationId xmlns:a16="http://schemas.microsoft.com/office/drawing/2014/main" id="{38269596-E6AC-4381-91B2-78567784842C}"/>
                    </a:ext>
                  </a:extLst>
                </p:cNvPr>
                <p:cNvGrpSpPr/>
                <p:nvPr/>
              </p:nvGrpSpPr>
              <p:grpSpPr>
                <a:xfrm>
                  <a:off x="3783098" y="1710820"/>
                  <a:ext cx="2167466" cy="2167466"/>
                  <a:chOff x="2186975" y="1305327"/>
                  <a:chExt cx="2167466" cy="2167466"/>
                </a:xfrm>
              </p:grpSpPr>
              <p:sp>
                <p:nvSpPr>
                  <p:cNvPr id="91" name="Forme 304">
                    <a:extLst>
                      <a:ext uri="{FF2B5EF4-FFF2-40B4-BE49-F238E27FC236}">
                        <a16:creationId xmlns:a16="http://schemas.microsoft.com/office/drawing/2014/main" id="{20F37CE8-49BA-4DF7-A665-9D8C75B1F35D}"/>
                      </a:ext>
                    </a:extLst>
                  </p:cNvPr>
                  <p:cNvSpPr/>
                  <p:nvPr/>
                </p:nvSpPr>
                <p:spPr>
                  <a:xfrm>
                    <a:off x="2186975" y="1305327"/>
                    <a:ext cx="2167466" cy="2167466"/>
                  </a:xfrm>
                  <a:prstGeom prst="gear6">
                    <a:avLst/>
                  </a:prstGeom>
                  <a:solidFill>
                    <a:srgbClr val="6FAD47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92" name="Forme 6">
                    <a:extLst>
                      <a:ext uri="{FF2B5EF4-FFF2-40B4-BE49-F238E27FC236}">
                        <a16:creationId xmlns:a16="http://schemas.microsoft.com/office/drawing/2014/main" id="{3612D2A0-B538-40B1-A7D9-D64D2C7F13B3}"/>
                      </a:ext>
                    </a:extLst>
                  </p:cNvPr>
                  <p:cNvSpPr txBox="1"/>
                  <p:nvPr/>
                </p:nvSpPr>
                <p:spPr>
                  <a:xfrm>
                    <a:off x="2772086" y="1854290"/>
                    <a:ext cx="1076136" cy="1069539"/>
                  </a:xfrm>
                  <a:prstGeom prst="rect">
                    <a:avLst/>
                  </a:prstGeom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81280" tIns="81280" rIns="81280" bIns="81280" numCol="1" spcCol="1270" anchor="ctr" anchorCtr="0">
                    <a:noAutofit/>
                  </a:bodyPr>
                  <a:lstStyle/>
                  <a:p>
                    <a:pPr marL="0" marR="0" lvl="0" indent="0" algn="ctr" defTabSz="2844800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fr-FR" sz="6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t> </a:t>
                    </a:r>
                  </a:p>
                </p:txBody>
              </p:sp>
            </p:grpSp>
          </p:grpSp>
        </p:grpSp>
        <p:grpSp>
          <p:nvGrpSpPr>
            <p:cNvPr id="30" name="Groupe 308">
              <a:extLst>
                <a:ext uri="{FF2B5EF4-FFF2-40B4-BE49-F238E27FC236}">
                  <a16:creationId xmlns:a16="http://schemas.microsoft.com/office/drawing/2014/main" id="{6F7836F3-584F-427B-888C-EF7F4A0FDFA1}"/>
                </a:ext>
              </a:extLst>
            </p:cNvPr>
            <p:cNvGrpSpPr/>
            <p:nvPr/>
          </p:nvGrpSpPr>
          <p:grpSpPr>
            <a:xfrm>
              <a:off x="9578408" y="3302826"/>
              <a:ext cx="901824" cy="844488"/>
              <a:chOff x="6469365" y="3617804"/>
              <a:chExt cx="901824" cy="844488"/>
            </a:xfrm>
          </p:grpSpPr>
          <p:sp>
            <p:nvSpPr>
              <p:cNvPr id="77" name="Rectangle : coins arrondis 309">
                <a:extLst>
                  <a:ext uri="{FF2B5EF4-FFF2-40B4-BE49-F238E27FC236}">
                    <a16:creationId xmlns:a16="http://schemas.microsoft.com/office/drawing/2014/main" id="{6597E6DF-DB76-4618-AD94-E14DEDC446C5}"/>
                  </a:ext>
                </a:extLst>
              </p:cNvPr>
              <p:cNvSpPr/>
              <p:nvPr/>
            </p:nvSpPr>
            <p:spPr>
              <a:xfrm rot="10800000" flipH="1" flipV="1">
                <a:off x="6506943" y="3655382"/>
                <a:ext cx="864246" cy="806910"/>
              </a:xfrm>
              <a:prstGeom prst="roundRect">
                <a:avLst>
                  <a:gd name="adj" fmla="val 8836"/>
                </a:avLst>
              </a:prstGeom>
              <a:solidFill>
                <a:srgbClr val="C9EAB5"/>
              </a:solidFill>
              <a:ln>
                <a:solidFill>
                  <a:schemeClr val="accent1">
                    <a:shade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D5D5D5">
                      <a:lumMod val="50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8" name="Rectangle : coins arrondis 310">
                <a:extLst>
                  <a:ext uri="{FF2B5EF4-FFF2-40B4-BE49-F238E27FC236}">
                    <a16:creationId xmlns:a16="http://schemas.microsoft.com/office/drawing/2014/main" id="{432BF233-64E0-4D70-BBBB-3C7FC72874D2}"/>
                  </a:ext>
                </a:extLst>
              </p:cNvPr>
              <p:cNvSpPr/>
              <p:nvPr/>
            </p:nvSpPr>
            <p:spPr>
              <a:xfrm rot="10800000" flipH="1" flipV="1">
                <a:off x="6469365" y="3617804"/>
                <a:ext cx="864246" cy="806909"/>
              </a:xfrm>
              <a:prstGeom prst="roundRect">
                <a:avLst>
                  <a:gd name="adj" fmla="val 8836"/>
                </a:avLst>
              </a:prstGeom>
              <a:solidFill>
                <a:srgbClr val="C9EAB5"/>
              </a:solidFill>
              <a:ln>
                <a:solidFill>
                  <a:schemeClr val="accent1">
                    <a:shade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D5D5D5">
                        <a:lumMod val="5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Adaptateurs MSP4</a:t>
                </a:r>
              </a:p>
            </p:txBody>
          </p:sp>
          <p:grpSp>
            <p:nvGrpSpPr>
              <p:cNvPr id="79" name="Groupe 311">
                <a:extLst>
                  <a:ext uri="{FF2B5EF4-FFF2-40B4-BE49-F238E27FC236}">
                    <a16:creationId xmlns:a16="http://schemas.microsoft.com/office/drawing/2014/main" id="{A3666700-0F20-42D7-86B6-B79930363CE0}"/>
                  </a:ext>
                </a:extLst>
              </p:cNvPr>
              <p:cNvGrpSpPr/>
              <p:nvPr/>
            </p:nvGrpSpPr>
            <p:grpSpPr>
              <a:xfrm>
                <a:off x="6512584" y="3755775"/>
                <a:ext cx="770582" cy="628169"/>
                <a:chOff x="3783098" y="1710820"/>
                <a:chExt cx="4546911" cy="3706584"/>
              </a:xfrm>
            </p:grpSpPr>
            <p:grpSp>
              <p:nvGrpSpPr>
                <p:cNvPr id="80" name="Groupe 312">
                  <a:extLst>
                    <a:ext uri="{FF2B5EF4-FFF2-40B4-BE49-F238E27FC236}">
                      <a16:creationId xmlns:a16="http://schemas.microsoft.com/office/drawing/2014/main" id="{22C94FE0-CAA0-48C6-90FC-71C4DD8F85A8}"/>
                    </a:ext>
                  </a:extLst>
                </p:cNvPr>
                <p:cNvGrpSpPr/>
                <p:nvPr/>
              </p:nvGrpSpPr>
              <p:grpSpPr>
                <a:xfrm>
                  <a:off x="5349743" y="2437138"/>
                  <a:ext cx="2980266" cy="2980266"/>
                  <a:chOff x="3753620" y="2031645"/>
                  <a:chExt cx="2980266" cy="2980266"/>
                </a:xfrm>
              </p:grpSpPr>
              <p:sp>
                <p:nvSpPr>
                  <p:cNvPr id="84" name="Forme 316">
                    <a:extLst>
                      <a:ext uri="{FF2B5EF4-FFF2-40B4-BE49-F238E27FC236}">
                        <a16:creationId xmlns:a16="http://schemas.microsoft.com/office/drawing/2014/main" id="{738D21F8-6C21-4430-A63F-FBCC990A3E49}"/>
                      </a:ext>
                    </a:extLst>
                  </p:cNvPr>
                  <p:cNvSpPr/>
                  <p:nvPr/>
                </p:nvSpPr>
                <p:spPr>
                  <a:xfrm>
                    <a:off x="3753620" y="2031645"/>
                    <a:ext cx="2980266" cy="2980266"/>
                  </a:xfrm>
                  <a:prstGeom prst="gear9">
                    <a:avLst/>
                  </a:prstGeom>
                  <a:solidFill>
                    <a:srgbClr val="00D1D1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85" name="Forme 4">
                    <a:extLst>
                      <a:ext uri="{FF2B5EF4-FFF2-40B4-BE49-F238E27FC236}">
                        <a16:creationId xmlns:a16="http://schemas.microsoft.com/office/drawing/2014/main" id="{1ACB18CB-5E25-45D1-A29E-C2CAD0EE8235}"/>
                      </a:ext>
                    </a:extLst>
                  </p:cNvPr>
                  <p:cNvSpPr txBox="1"/>
                  <p:nvPr/>
                </p:nvSpPr>
                <p:spPr>
                  <a:xfrm>
                    <a:off x="4392232" y="2594647"/>
                    <a:ext cx="1781933" cy="1531918"/>
                  </a:xfrm>
                  <a:prstGeom prst="rect">
                    <a:avLst/>
                  </a:prstGeom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81280" tIns="81280" rIns="81280" bIns="81280" numCol="1" spcCol="1270" anchor="ctr" anchorCtr="0">
                    <a:noAutofit/>
                  </a:bodyPr>
                  <a:lstStyle/>
                  <a:p>
                    <a:pPr marL="0" marR="0" lvl="0" indent="0" algn="ctr" defTabSz="2844800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fr-FR" sz="6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81" name="Groupe 313">
                  <a:extLst>
                    <a:ext uri="{FF2B5EF4-FFF2-40B4-BE49-F238E27FC236}">
                      <a16:creationId xmlns:a16="http://schemas.microsoft.com/office/drawing/2014/main" id="{668394B9-3CA1-4536-B9A0-8969CB909694}"/>
                    </a:ext>
                  </a:extLst>
                </p:cNvPr>
                <p:cNvGrpSpPr/>
                <p:nvPr/>
              </p:nvGrpSpPr>
              <p:grpSpPr>
                <a:xfrm>
                  <a:off x="3783098" y="1710820"/>
                  <a:ext cx="2167466" cy="2167466"/>
                  <a:chOff x="2186975" y="1305327"/>
                  <a:chExt cx="2167466" cy="2167466"/>
                </a:xfrm>
              </p:grpSpPr>
              <p:sp>
                <p:nvSpPr>
                  <p:cNvPr id="82" name="Forme 314">
                    <a:extLst>
                      <a:ext uri="{FF2B5EF4-FFF2-40B4-BE49-F238E27FC236}">
                        <a16:creationId xmlns:a16="http://schemas.microsoft.com/office/drawing/2014/main" id="{E6413B0E-F484-4B18-AB88-E463E673BC92}"/>
                      </a:ext>
                    </a:extLst>
                  </p:cNvPr>
                  <p:cNvSpPr/>
                  <p:nvPr/>
                </p:nvSpPr>
                <p:spPr>
                  <a:xfrm>
                    <a:off x="2186975" y="1305327"/>
                    <a:ext cx="2167466" cy="2167466"/>
                  </a:xfrm>
                  <a:prstGeom prst="gear6">
                    <a:avLst/>
                  </a:prstGeom>
                  <a:solidFill>
                    <a:srgbClr val="6FAD47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83" name="Forme 6">
                    <a:extLst>
                      <a:ext uri="{FF2B5EF4-FFF2-40B4-BE49-F238E27FC236}">
                        <a16:creationId xmlns:a16="http://schemas.microsoft.com/office/drawing/2014/main" id="{879BA9B2-1A15-482F-9A96-E36A33BD6B39}"/>
                      </a:ext>
                    </a:extLst>
                  </p:cNvPr>
                  <p:cNvSpPr txBox="1"/>
                  <p:nvPr/>
                </p:nvSpPr>
                <p:spPr>
                  <a:xfrm>
                    <a:off x="2772086" y="1854290"/>
                    <a:ext cx="1076136" cy="1069539"/>
                  </a:xfrm>
                  <a:prstGeom prst="rect">
                    <a:avLst/>
                  </a:prstGeom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81280" tIns="81280" rIns="81280" bIns="81280" numCol="1" spcCol="1270" anchor="ctr" anchorCtr="0">
                    <a:noAutofit/>
                  </a:bodyPr>
                  <a:lstStyle/>
                  <a:p>
                    <a:pPr marL="0" marR="0" lvl="0" indent="0" algn="ctr" defTabSz="2844800" rtl="0" eaLnBrk="1" fontAlgn="auto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fr-FR" sz="6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</a:rPr>
                      <a:t> </a:t>
                    </a:r>
                  </a:p>
                </p:txBody>
              </p:sp>
            </p:grpSp>
          </p:grpSp>
        </p:grpSp>
        <p:grpSp>
          <p:nvGrpSpPr>
            <p:cNvPr id="31" name="Groupe 237">
              <a:extLst>
                <a:ext uri="{FF2B5EF4-FFF2-40B4-BE49-F238E27FC236}">
                  <a16:creationId xmlns:a16="http://schemas.microsoft.com/office/drawing/2014/main" id="{E1132E33-737A-4F13-8FED-CA2CBBC66868}"/>
                </a:ext>
              </a:extLst>
            </p:cNvPr>
            <p:cNvGrpSpPr/>
            <p:nvPr/>
          </p:nvGrpSpPr>
          <p:grpSpPr>
            <a:xfrm rot="12927550">
              <a:off x="6265634" y="3893566"/>
              <a:ext cx="518763" cy="1698888"/>
              <a:chOff x="3856856" y="5259334"/>
              <a:chExt cx="518763" cy="1636249"/>
            </a:xfrm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C52DCB01-9B0A-48D5-972F-0CCB62762627}"/>
                  </a:ext>
                </a:extLst>
              </p:cNvPr>
              <p:cNvSpPr/>
              <p:nvPr/>
            </p:nvSpPr>
            <p:spPr>
              <a:xfrm>
                <a:off x="4085109" y="5696856"/>
                <a:ext cx="81856" cy="1077036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222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4" name="Ellipse 236">
                <a:extLst>
                  <a:ext uri="{FF2B5EF4-FFF2-40B4-BE49-F238E27FC236}">
                    <a16:creationId xmlns:a16="http://schemas.microsoft.com/office/drawing/2014/main" id="{50B97E58-E493-4C76-81F1-CF19AC1BE8E8}"/>
                  </a:ext>
                </a:extLst>
              </p:cNvPr>
              <p:cNvSpPr/>
              <p:nvPr/>
            </p:nvSpPr>
            <p:spPr>
              <a:xfrm>
                <a:off x="3923640" y="5338813"/>
                <a:ext cx="399324" cy="399324"/>
              </a:xfrm>
              <a:prstGeom prst="ellipse">
                <a:avLst/>
              </a:prstGeom>
              <a:noFill/>
              <a:ln w="73025"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7A79D6C-1E92-4976-977E-84D08C6593F4}"/>
                  </a:ext>
                </a:extLst>
              </p:cNvPr>
              <p:cNvSpPr/>
              <p:nvPr/>
            </p:nvSpPr>
            <p:spPr>
              <a:xfrm>
                <a:off x="3856856" y="5259334"/>
                <a:ext cx="518763" cy="27914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6" name="Ellipse 238">
                <a:extLst>
                  <a:ext uri="{FF2B5EF4-FFF2-40B4-BE49-F238E27FC236}">
                    <a16:creationId xmlns:a16="http://schemas.microsoft.com/office/drawing/2014/main" id="{413EB25C-A25B-4017-8BBD-5C18C0FF023F}"/>
                  </a:ext>
                </a:extLst>
              </p:cNvPr>
              <p:cNvSpPr/>
              <p:nvPr/>
            </p:nvSpPr>
            <p:spPr>
              <a:xfrm>
                <a:off x="4043307" y="6737888"/>
                <a:ext cx="157696" cy="157695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730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2" name="Groupe 239">
              <a:extLst>
                <a:ext uri="{FF2B5EF4-FFF2-40B4-BE49-F238E27FC236}">
                  <a16:creationId xmlns:a16="http://schemas.microsoft.com/office/drawing/2014/main" id="{C74D6396-BE19-4F21-A31C-A57C7C48D7C3}"/>
                </a:ext>
              </a:extLst>
            </p:cNvPr>
            <p:cNvGrpSpPr/>
            <p:nvPr/>
          </p:nvGrpSpPr>
          <p:grpSpPr>
            <a:xfrm rot="11237921">
              <a:off x="7633038" y="4022237"/>
              <a:ext cx="518763" cy="1471672"/>
              <a:chOff x="3856856" y="5259334"/>
              <a:chExt cx="518763" cy="1417411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1C27843E-37D2-4FEE-B61D-7DDDDC4DDBE4}"/>
                  </a:ext>
                </a:extLst>
              </p:cNvPr>
              <p:cNvSpPr/>
              <p:nvPr/>
            </p:nvSpPr>
            <p:spPr>
              <a:xfrm>
                <a:off x="4085109" y="5696857"/>
                <a:ext cx="81856" cy="911347"/>
              </a:xfrm>
              <a:prstGeom prst="rect">
                <a:avLst/>
              </a:prstGeom>
              <a:solidFill>
                <a:srgbClr val="00D1D1"/>
              </a:solidFill>
              <a:ln w="222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0" name="Ellipse 241">
                <a:extLst>
                  <a:ext uri="{FF2B5EF4-FFF2-40B4-BE49-F238E27FC236}">
                    <a16:creationId xmlns:a16="http://schemas.microsoft.com/office/drawing/2014/main" id="{44A1C437-1F23-44AB-B5F9-07048AA125ED}"/>
                  </a:ext>
                </a:extLst>
              </p:cNvPr>
              <p:cNvSpPr/>
              <p:nvPr/>
            </p:nvSpPr>
            <p:spPr>
              <a:xfrm>
                <a:off x="3923640" y="5338813"/>
                <a:ext cx="399324" cy="399324"/>
              </a:xfrm>
              <a:prstGeom prst="ellipse">
                <a:avLst/>
              </a:prstGeom>
              <a:noFill/>
              <a:ln w="73025">
                <a:solidFill>
                  <a:srgbClr val="00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B02B8207-0558-4439-A327-ABC77A9AD1A2}"/>
                  </a:ext>
                </a:extLst>
              </p:cNvPr>
              <p:cNvSpPr/>
              <p:nvPr/>
            </p:nvSpPr>
            <p:spPr>
              <a:xfrm>
                <a:off x="3856856" y="5259334"/>
                <a:ext cx="518763" cy="27914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2" name="Ellipse 243">
                <a:extLst>
                  <a:ext uri="{FF2B5EF4-FFF2-40B4-BE49-F238E27FC236}">
                    <a16:creationId xmlns:a16="http://schemas.microsoft.com/office/drawing/2014/main" id="{FE445D8B-2CD5-47E1-859D-85F3C55B3A5F}"/>
                  </a:ext>
                </a:extLst>
              </p:cNvPr>
              <p:cNvSpPr/>
              <p:nvPr/>
            </p:nvSpPr>
            <p:spPr>
              <a:xfrm>
                <a:off x="4044579" y="6519050"/>
                <a:ext cx="157696" cy="157695"/>
              </a:xfrm>
              <a:prstGeom prst="ellipse">
                <a:avLst/>
              </a:prstGeom>
              <a:solidFill>
                <a:srgbClr val="00D1D1"/>
              </a:solidFill>
              <a:ln w="730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3" name="Groupe 244">
              <a:extLst>
                <a:ext uri="{FF2B5EF4-FFF2-40B4-BE49-F238E27FC236}">
                  <a16:creationId xmlns:a16="http://schemas.microsoft.com/office/drawing/2014/main" id="{19C4748F-37F8-4C92-AD5B-29DFE680759F}"/>
                </a:ext>
              </a:extLst>
            </p:cNvPr>
            <p:cNvGrpSpPr/>
            <p:nvPr/>
          </p:nvGrpSpPr>
          <p:grpSpPr>
            <a:xfrm rot="9563160">
              <a:off x="9041548" y="4011356"/>
              <a:ext cx="518763" cy="1502159"/>
              <a:chOff x="3856856" y="5259334"/>
              <a:chExt cx="518763" cy="1446774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84FDB48B-142E-420E-B703-3ABAAE30F59D}"/>
                  </a:ext>
                </a:extLst>
              </p:cNvPr>
              <p:cNvSpPr/>
              <p:nvPr/>
            </p:nvSpPr>
            <p:spPr>
              <a:xfrm>
                <a:off x="4085109" y="5696857"/>
                <a:ext cx="81856" cy="911347"/>
              </a:xfrm>
              <a:prstGeom prst="rect">
                <a:avLst/>
              </a:prstGeom>
              <a:solidFill>
                <a:srgbClr val="00D1D1"/>
              </a:solidFill>
              <a:ln w="222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6" name="Ellipse 246">
                <a:extLst>
                  <a:ext uri="{FF2B5EF4-FFF2-40B4-BE49-F238E27FC236}">
                    <a16:creationId xmlns:a16="http://schemas.microsoft.com/office/drawing/2014/main" id="{957B632D-DD33-48C0-9B10-F0D1866999D6}"/>
                  </a:ext>
                </a:extLst>
              </p:cNvPr>
              <p:cNvSpPr/>
              <p:nvPr/>
            </p:nvSpPr>
            <p:spPr>
              <a:xfrm>
                <a:off x="3923640" y="5338813"/>
                <a:ext cx="399324" cy="399324"/>
              </a:xfrm>
              <a:prstGeom prst="ellipse">
                <a:avLst/>
              </a:prstGeom>
              <a:noFill/>
              <a:ln w="73025">
                <a:solidFill>
                  <a:srgbClr val="00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A23C347E-271E-41F4-A394-8F7247192474}"/>
                  </a:ext>
                </a:extLst>
              </p:cNvPr>
              <p:cNvSpPr/>
              <p:nvPr/>
            </p:nvSpPr>
            <p:spPr>
              <a:xfrm>
                <a:off x="3856856" y="5259334"/>
                <a:ext cx="518763" cy="27914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8" name="Ellipse 248">
                <a:extLst>
                  <a:ext uri="{FF2B5EF4-FFF2-40B4-BE49-F238E27FC236}">
                    <a16:creationId xmlns:a16="http://schemas.microsoft.com/office/drawing/2014/main" id="{EE12F9F7-C284-4871-BA18-2B00173013B1}"/>
                  </a:ext>
                </a:extLst>
              </p:cNvPr>
              <p:cNvSpPr/>
              <p:nvPr/>
            </p:nvSpPr>
            <p:spPr>
              <a:xfrm>
                <a:off x="4046514" y="6548413"/>
                <a:ext cx="157696" cy="157695"/>
              </a:xfrm>
              <a:prstGeom prst="ellipse">
                <a:avLst/>
              </a:prstGeom>
              <a:solidFill>
                <a:srgbClr val="00D1D1"/>
              </a:solidFill>
              <a:ln w="730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4" name="Groupe 249">
              <a:extLst>
                <a:ext uri="{FF2B5EF4-FFF2-40B4-BE49-F238E27FC236}">
                  <a16:creationId xmlns:a16="http://schemas.microsoft.com/office/drawing/2014/main" id="{B6F19E1F-D6AF-45BC-985B-C7402845E92C}"/>
                </a:ext>
              </a:extLst>
            </p:cNvPr>
            <p:cNvGrpSpPr/>
            <p:nvPr/>
          </p:nvGrpSpPr>
          <p:grpSpPr>
            <a:xfrm rot="8482736">
              <a:off x="10302254" y="3882133"/>
              <a:ext cx="518763" cy="1725011"/>
              <a:chOff x="3856856" y="5259334"/>
              <a:chExt cx="518763" cy="1661410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5C758C25-36BD-41B2-BDF1-B98BBC3CA48A}"/>
                  </a:ext>
                </a:extLst>
              </p:cNvPr>
              <p:cNvSpPr/>
              <p:nvPr/>
            </p:nvSpPr>
            <p:spPr>
              <a:xfrm>
                <a:off x="4085108" y="5696857"/>
                <a:ext cx="81856" cy="1115034"/>
              </a:xfrm>
              <a:prstGeom prst="rect">
                <a:avLst/>
              </a:prstGeom>
              <a:solidFill>
                <a:srgbClr val="00D1D1"/>
              </a:solidFill>
              <a:ln w="222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Ellipse 251">
                <a:extLst>
                  <a:ext uri="{FF2B5EF4-FFF2-40B4-BE49-F238E27FC236}">
                    <a16:creationId xmlns:a16="http://schemas.microsoft.com/office/drawing/2014/main" id="{BCB90EDC-1A29-4FB0-83B5-58F7E557BA0F}"/>
                  </a:ext>
                </a:extLst>
              </p:cNvPr>
              <p:cNvSpPr/>
              <p:nvPr/>
            </p:nvSpPr>
            <p:spPr>
              <a:xfrm>
                <a:off x="3923640" y="5338813"/>
                <a:ext cx="399324" cy="399324"/>
              </a:xfrm>
              <a:prstGeom prst="ellipse">
                <a:avLst/>
              </a:prstGeom>
              <a:noFill/>
              <a:ln w="73025">
                <a:solidFill>
                  <a:srgbClr val="00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EC4EAAE-1EA0-4AC3-ADD1-23B636E68B94}"/>
                  </a:ext>
                </a:extLst>
              </p:cNvPr>
              <p:cNvSpPr/>
              <p:nvPr/>
            </p:nvSpPr>
            <p:spPr>
              <a:xfrm>
                <a:off x="3856856" y="5259334"/>
                <a:ext cx="518763" cy="27914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4" name="Ellipse 253">
                <a:extLst>
                  <a:ext uri="{FF2B5EF4-FFF2-40B4-BE49-F238E27FC236}">
                    <a16:creationId xmlns:a16="http://schemas.microsoft.com/office/drawing/2014/main" id="{9C4A720D-A775-4302-9C7F-BCC535263940}"/>
                  </a:ext>
                </a:extLst>
              </p:cNvPr>
              <p:cNvSpPr/>
              <p:nvPr/>
            </p:nvSpPr>
            <p:spPr>
              <a:xfrm>
                <a:off x="4052903" y="6763049"/>
                <a:ext cx="157696" cy="157695"/>
              </a:xfrm>
              <a:prstGeom prst="ellipse">
                <a:avLst/>
              </a:prstGeom>
              <a:solidFill>
                <a:srgbClr val="00D1D1"/>
              </a:solidFill>
              <a:ln w="730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5" name="Groupe 216">
              <a:extLst>
                <a:ext uri="{FF2B5EF4-FFF2-40B4-BE49-F238E27FC236}">
                  <a16:creationId xmlns:a16="http://schemas.microsoft.com/office/drawing/2014/main" id="{DCB070BA-9948-4DBD-87E1-6996F69F9A14}"/>
                </a:ext>
              </a:extLst>
            </p:cNvPr>
            <p:cNvGrpSpPr/>
            <p:nvPr/>
          </p:nvGrpSpPr>
          <p:grpSpPr>
            <a:xfrm>
              <a:off x="5854600" y="5076627"/>
              <a:ext cx="686152" cy="994745"/>
              <a:chOff x="5213536" y="5391605"/>
              <a:chExt cx="686152" cy="994745"/>
            </a:xfrm>
          </p:grpSpPr>
          <p:grpSp>
            <p:nvGrpSpPr>
              <p:cNvPr id="57" name="Groupe 167">
                <a:extLst>
                  <a:ext uri="{FF2B5EF4-FFF2-40B4-BE49-F238E27FC236}">
                    <a16:creationId xmlns:a16="http://schemas.microsoft.com/office/drawing/2014/main" id="{87F12D34-6EC2-4CFD-89F1-EF35AC49F492}"/>
                  </a:ext>
                </a:extLst>
              </p:cNvPr>
              <p:cNvGrpSpPr/>
              <p:nvPr/>
            </p:nvGrpSpPr>
            <p:grpSpPr>
              <a:xfrm>
                <a:off x="5441318" y="5391605"/>
                <a:ext cx="230588" cy="503777"/>
                <a:chOff x="3606429" y="1892398"/>
                <a:chExt cx="230588" cy="503777"/>
              </a:xfrm>
            </p:grpSpPr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D9DF9B3E-C986-4635-8A5F-610DBA94A39D}"/>
                    </a:ext>
                  </a:extLst>
                </p:cNvPr>
                <p:cNvSpPr/>
                <p:nvPr/>
              </p:nvSpPr>
              <p:spPr>
                <a:xfrm>
                  <a:off x="3680431" y="2102670"/>
                  <a:ext cx="86575" cy="293505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222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0" name="Bouée 169">
                  <a:extLst>
                    <a:ext uri="{FF2B5EF4-FFF2-40B4-BE49-F238E27FC236}">
                      <a16:creationId xmlns:a16="http://schemas.microsoft.com/office/drawing/2014/main" id="{910E8EBB-B4D3-44AE-B15C-E053B402A1F5}"/>
                    </a:ext>
                  </a:extLst>
                </p:cNvPr>
                <p:cNvSpPr/>
                <p:nvPr/>
              </p:nvSpPr>
              <p:spPr>
                <a:xfrm>
                  <a:off x="3606429" y="1892398"/>
                  <a:ext cx="230588" cy="230586"/>
                </a:xfrm>
                <a:prstGeom prst="donu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58" name="Freeform 21">
                <a:extLst>
                  <a:ext uri="{FF2B5EF4-FFF2-40B4-BE49-F238E27FC236}">
                    <a16:creationId xmlns:a16="http://schemas.microsoft.com/office/drawing/2014/main" id="{D5E60F6E-4508-4405-B8CA-63021373F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3536" y="5700236"/>
                <a:ext cx="686152" cy="686114"/>
              </a:xfrm>
              <a:custGeom>
                <a:avLst/>
                <a:gdLst>
                  <a:gd name="T0" fmla="*/ 62 w 439"/>
                  <a:gd name="T1" fmla="*/ 322 h 410"/>
                  <a:gd name="T2" fmla="*/ 106 w 439"/>
                  <a:gd name="T3" fmla="*/ 61 h 410"/>
                  <a:gd name="T4" fmla="*/ 376 w 439"/>
                  <a:gd name="T5" fmla="*/ 99 h 410"/>
                  <a:gd name="T6" fmla="*/ 327 w 439"/>
                  <a:gd name="T7" fmla="*/ 348 h 410"/>
                  <a:gd name="T8" fmla="*/ 62 w 439"/>
                  <a:gd name="T9" fmla="*/ 32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9" h="410">
                    <a:moveTo>
                      <a:pt x="62" y="322"/>
                    </a:moveTo>
                    <a:cubicBezTo>
                      <a:pt x="0" y="238"/>
                      <a:pt x="19" y="123"/>
                      <a:pt x="106" y="61"/>
                    </a:cubicBezTo>
                    <a:cubicBezTo>
                      <a:pt x="191" y="0"/>
                      <a:pt x="312" y="17"/>
                      <a:pt x="376" y="99"/>
                    </a:cubicBezTo>
                    <a:cubicBezTo>
                      <a:pt x="439" y="182"/>
                      <a:pt x="412" y="288"/>
                      <a:pt x="327" y="348"/>
                    </a:cubicBezTo>
                    <a:cubicBezTo>
                      <a:pt x="240" y="410"/>
                      <a:pt x="126" y="403"/>
                      <a:pt x="62" y="322"/>
                    </a:cubicBez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</p:spPr>
            <p:txBody>
              <a:bodyPr vert="horz" wrap="square" lIns="0" tIns="37148" rIns="0" bIns="371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7429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SP1</a:t>
                </a:r>
              </a:p>
            </p:txBody>
          </p:sp>
        </p:grpSp>
        <p:grpSp>
          <p:nvGrpSpPr>
            <p:cNvPr id="36" name="Groupe 397">
              <a:extLst>
                <a:ext uri="{FF2B5EF4-FFF2-40B4-BE49-F238E27FC236}">
                  <a16:creationId xmlns:a16="http://schemas.microsoft.com/office/drawing/2014/main" id="{A87FE6BB-6A3C-43D9-AF48-36FC61A93217}"/>
                </a:ext>
              </a:extLst>
            </p:cNvPr>
            <p:cNvGrpSpPr/>
            <p:nvPr/>
          </p:nvGrpSpPr>
          <p:grpSpPr>
            <a:xfrm>
              <a:off x="7490113" y="5076627"/>
              <a:ext cx="686152" cy="994745"/>
              <a:chOff x="5213536" y="5391605"/>
              <a:chExt cx="686152" cy="994745"/>
            </a:xfrm>
          </p:grpSpPr>
          <p:grpSp>
            <p:nvGrpSpPr>
              <p:cNvPr id="53" name="Groupe 398">
                <a:extLst>
                  <a:ext uri="{FF2B5EF4-FFF2-40B4-BE49-F238E27FC236}">
                    <a16:creationId xmlns:a16="http://schemas.microsoft.com/office/drawing/2014/main" id="{6AEF2EC3-A8BA-4C3D-A151-D9A92100235F}"/>
                  </a:ext>
                </a:extLst>
              </p:cNvPr>
              <p:cNvGrpSpPr/>
              <p:nvPr/>
            </p:nvGrpSpPr>
            <p:grpSpPr>
              <a:xfrm>
                <a:off x="5441318" y="5391605"/>
                <a:ext cx="230588" cy="503777"/>
                <a:chOff x="3606429" y="1892398"/>
                <a:chExt cx="230588" cy="503777"/>
              </a:xfrm>
            </p:grpSpPr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0F646176-4FC8-4E78-94AA-62F8C5AD80AE}"/>
                    </a:ext>
                  </a:extLst>
                </p:cNvPr>
                <p:cNvSpPr/>
                <p:nvPr/>
              </p:nvSpPr>
              <p:spPr>
                <a:xfrm>
                  <a:off x="3680431" y="2102670"/>
                  <a:ext cx="86575" cy="293505"/>
                </a:xfrm>
                <a:prstGeom prst="rect">
                  <a:avLst/>
                </a:prstGeom>
                <a:solidFill>
                  <a:srgbClr val="00D1D1"/>
                </a:solidFill>
                <a:ln w="222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6" name="Bouée 401">
                  <a:extLst>
                    <a:ext uri="{FF2B5EF4-FFF2-40B4-BE49-F238E27FC236}">
                      <a16:creationId xmlns:a16="http://schemas.microsoft.com/office/drawing/2014/main" id="{ABDE2C50-802A-401F-8CB5-1ED3FFEEA727}"/>
                    </a:ext>
                  </a:extLst>
                </p:cNvPr>
                <p:cNvSpPr/>
                <p:nvPr/>
              </p:nvSpPr>
              <p:spPr>
                <a:xfrm>
                  <a:off x="3606429" y="1892398"/>
                  <a:ext cx="230588" cy="230586"/>
                </a:xfrm>
                <a:prstGeom prst="donut">
                  <a:avLst/>
                </a:prstGeom>
                <a:solidFill>
                  <a:srgbClr val="00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54" name="Freeform 21">
                <a:extLst>
                  <a:ext uri="{FF2B5EF4-FFF2-40B4-BE49-F238E27FC236}">
                    <a16:creationId xmlns:a16="http://schemas.microsoft.com/office/drawing/2014/main" id="{82BA86C5-E0ED-4CBC-997C-94D5A00288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3536" y="5700236"/>
                <a:ext cx="686152" cy="686114"/>
              </a:xfrm>
              <a:custGeom>
                <a:avLst/>
                <a:gdLst>
                  <a:gd name="T0" fmla="*/ 62 w 439"/>
                  <a:gd name="T1" fmla="*/ 322 h 410"/>
                  <a:gd name="T2" fmla="*/ 106 w 439"/>
                  <a:gd name="T3" fmla="*/ 61 h 410"/>
                  <a:gd name="T4" fmla="*/ 376 w 439"/>
                  <a:gd name="T5" fmla="*/ 99 h 410"/>
                  <a:gd name="T6" fmla="*/ 327 w 439"/>
                  <a:gd name="T7" fmla="*/ 348 h 410"/>
                  <a:gd name="T8" fmla="*/ 62 w 439"/>
                  <a:gd name="T9" fmla="*/ 32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9" h="410">
                    <a:moveTo>
                      <a:pt x="62" y="322"/>
                    </a:moveTo>
                    <a:cubicBezTo>
                      <a:pt x="0" y="238"/>
                      <a:pt x="19" y="123"/>
                      <a:pt x="106" y="61"/>
                    </a:cubicBezTo>
                    <a:cubicBezTo>
                      <a:pt x="191" y="0"/>
                      <a:pt x="312" y="17"/>
                      <a:pt x="376" y="99"/>
                    </a:cubicBezTo>
                    <a:cubicBezTo>
                      <a:pt x="439" y="182"/>
                      <a:pt x="412" y="288"/>
                      <a:pt x="327" y="348"/>
                    </a:cubicBezTo>
                    <a:cubicBezTo>
                      <a:pt x="240" y="410"/>
                      <a:pt x="126" y="403"/>
                      <a:pt x="62" y="322"/>
                    </a:cubicBezTo>
                  </a:path>
                </a:pathLst>
              </a:custGeom>
              <a:solidFill>
                <a:srgbClr val="01D1D0"/>
              </a:solidFill>
              <a:ln w="19050">
                <a:noFill/>
              </a:ln>
            </p:spPr>
            <p:txBody>
              <a:bodyPr vert="horz" wrap="square" lIns="0" tIns="37148" rIns="0" bIns="371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7429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SP2</a:t>
                </a:r>
              </a:p>
            </p:txBody>
          </p:sp>
        </p:grpSp>
        <p:grpSp>
          <p:nvGrpSpPr>
            <p:cNvPr id="37" name="Groupe 402">
              <a:extLst>
                <a:ext uri="{FF2B5EF4-FFF2-40B4-BE49-F238E27FC236}">
                  <a16:creationId xmlns:a16="http://schemas.microsoft.com/office/drawing/2014/main" id="{96B89F96-5603-47D0-9B91-EAF85BB7B685}"/>
                </a:ext>
              </a:extLst>
            </p:cNvPr>
            <p:cNvGrpSpPr/>
            <p:nvPr/>
          </p:nvGrpSpPr>
          <p:grpSpPr>
            <a:xfrm>
              <a:off x="9110757" y="5076627"/>
              <a:ext cx="686152" cy="994745"/>
              <a:chOff x="5213536" y="5391605"/>
              <a:chExt cx="686152" cy="994745"/>
            </a:xfrm>
          </p:grpSpPr>
          <p:grpSp>
            <p:nvGrpSpPr>
              <p:cNvPr id="49" name="Groupe 403">
                <a:extLst>
                  <a:ext uri="{FF2B5EF4-FFF2-40B4-BE49-F238E27FC236}">
                    <a16:creationId xmlns:a16="http://schemas.microsoft.com/office/drawing/2014/main" id="{8244AD2A-B2BD-47CA-AEFF-0697F804FEAF}"/>
                  </a:ext>
                </a:extLst>
              </p:cNvPr>
              <p:cNvGrpSpPr/>
              <p:nvPr/>
            </p:nvGrpSpPr>
            <p:grpSpPr>
              <a:xfrm>
                <a:off x="5441318" y="5391605"/>
                <a:ext cx="230588" cy="503777"/>
                <a:chOff x="3606429" y="1892398"/>
                <a:chExt cx="230588" cy="503777"/>
              </a:xfrm>
            </p:grpSpPr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C0B471F1-66C5-4134-9113-55CD878A3C50}"/>
                    </a:ext>
                  </a:extLst>
                </p:cNvPr>
                <p:cNvSpPr/>
                <p:nvPr/>
              </p:nvSpPr>
              <p:spPr>
                <a:xfrm>
                  <a:off x="3680431" y="2102670"/>
                  <a:ext cx="86575" cy="293505"/>
                </a:xfrm>
                <a:prstGeom prst="rect">
                  <a:avLst/>
                </a:prstGeom>
                <a:solidFill>
                  <a:srgbClr val="00D1D1"/>
                </a:solidFill>
                <a:ln w="222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2" name="Bouée 406">
                  <a:extLst>
                    <a:ext uri="{FF2B5EF4-FFF2-40B4-BE49-F238E27FC236}">
                      <a16:creationId xmlns:a16="http://schemas.microsoft.com/office/drawing/2014/main" id="{9462D239-0B17-4457-9E23-78814D7912F8}"/>
                    </a:ext>
                  </a:extLst>
                </p:cNvPr>
                <p:cNvSpPr/>
                <p:nvPr/>
              </p:nvSpPr>
              <p:spPr>
                <a:xfrm>
                  <a:off x="3606429" y="1892398"/>
                  <a:ext cx="230588" cy="230586"/>
                </a:xfrm>
                <a:prstGeom prst="donut">
                  <a:avLst/>
                </a:prstGeom>
                <a:solidFill>
                  <a:srgbClr val="00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50" name="Freeform 21">
                <a:extLst>
                  <a:ext uri="{FF2B5EF4-FFF2-40B4-BE49-F238E27FC236}">
                    <a16:creationId xmlns:a16="http://schemas.microsoft.com/office/drawing/2014/main" id="{DFD6652B-43C9-4EEC-AAFD-35D66A90E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3536" y="5700236"/>
                <a:ext cx="686152" cy="686114"/>
              </a:xfrm>
              <a:custGeom>
                <a:avLst/>
                <a:gdLst>
                  <a:gd name="T0" fmla="*/ 62 w 439"/>
                  <a:gd name="T1" fmla="*/ 322 h 410"/>
                  <a:gd name="T2" fmla="*/ 106 w 439"/>
                  <a:gd name="T3" fmla="*/ 61 h 410"/>
                  <a:gd name="T4" fmla="*/ 376 w 439"/>
                  <a:gd name="T5" fmla="*/ 99 h 410"/>
                  <a:gd name="T6" fmla="*/ 327 w 439"/>
                  <a:gd name="T7" fmla="*/ 348 h 410"/>
                  <a:gd name="T8" fmla="*/ 62 w 439"/>
                  <a:gd name="T9" fmla="*/ 32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9" h="410">
                    <a:moveTo>
                      <a:pt x="62" y="322"/>
                    </a:moveTo>
                    <a:cubicBezTo>
                      <a:pt x="0" y="238"/>
                      <a:pt x="19" y="123"/>
                      <a:pt x="106" y="61"/>
                    </a:cubicBezTo>
                    <a:cubicBezTo>
                      <a:pt x="191" y="0"/>
                      <a:pt x="312" y="17"/>
                      <a:pt x="376" y="99"/>
                    </a:cubicBezTo>
                    <a:cubicBezTo>
                      <a:pt x="439" y="182"/>
                      <a:pt x="412" y="288"/>
                      <a:pt x="327" y="348"/>
                    </a:cubicBezTo>
                    <a:cubicBezTo>
                      <a:pt x="240" y="410"/>
                      <a:pt x="126" y="403"/>
                      <a:pt x="62" y="322"/>
                    </a:cubicBezTo>
                  </a:path>
                </a:pathLst>
              </a:custGeom>
              <a:solidFill>
                <a:srgbClr val="01D1D0"/>
              </a:solidFill>
              <a:ln w="19050">
                <a:noFill/>
              </a:ln>
            </p:spPr>
            <p:txBody>
              <a:bodyPr vert="horz" wrap="square" lIns="0" tIns="37148" rIns="0" bIns="371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7429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SP3</a:t>
                </a:r>
              </a:p>
            </p:txBody>
          </p:sp>
        </p:grpSp>
        <p:grpSp>
          <p:nvGrpSpPr>
            <p:cNvPr id="38" name="Groupe 407">
              <a:extLst>
                <a:ext uri="{FF2B5EF4-FFF2-40B4-BE49-F238E27FC236}">
                  <a16:creationId xmlns:a16="http://schemas.microsoft.com/office/drawing/2014/main" id="{751E6164-C48A-4B03-BF08-5A49F87D4EC2}"/>
                </a:ext>
              </a:extLst>
            </p:cNvPr>
            <p:cNvGrpSpPr/>
            <p:nvPr/>
          </p:nvGrpSpPr>
          <p:grpSpPr>
            <a:xfrm>
              <a:off x="10567850" y="5076627"/>
              <a:ext cx="686152" cy="994745"/>
              <a:chOff x="5213536" y="5391605"/>
              <a:chExt cx="686152" cy="994745"/>
            </a:xfrm>
          </p:grpSpPr>
          <p:grpSp>
            <p:nvGrpSpPr>
              <p:cNvPr id="45" name="Groupe 408">
                <a:extLst>
                  <a:ext uri="{FF2B5EF4-FFF2-40B4-BE49-F238E27FC236}">
                    <a16:creationId xmlns:a16="http://schemas.microsoft.com/office/drawing/2014/main" id="{23F98377-895E-44B2-8751-1EF21E2C8577}"/>
                  </a:ext>
                </a:extLst>
              </p:cNvPr>
              <p:cNvGrpSpPr/>
              <p:nvPr/>
            </p:nvGrpSpPr>
            <p:grpSpPr>
              <a:xfrm>
                <a:off x="5441318" y="5391605"/>
                <a:ext cx="230588" cy="503777"/>
                <a:chOff x="3606429" y="1892398"/>
                <a:chExt cx="230588" cy="503777"/>
              </a:xfrm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2835C730-5427-40DD-B0FC-7883191A6699}"/>
                    </a:ext>
                  </a:extLst>
                </p:cNvPr>
                <p:cNvSpPr/>
                <p:nvPr/>
              </p:nvSpPr>
              <p:spPr>
                <a:xfrm>
                  <a:off x="3680431" y="2102670"/>
                  <a:ext cx="86575" cy="293505"/>
                </a:xfrm>
                <a:prstGeom prst="rect">
                  <a:avLst/>
                </a:prstGeom>
                <a:solidFill>
                  <a:srgbClr val="00D1D1"/>
                </a:solidFill>
                <a:ln w="222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8" name="Bouée 411">
                  <a:extLst>
                    <a:ext uri="{FF2B5EF4-FFF2-40B4-BE49-F238E27FC236}">
                      <a16:creationId xmlns:a16="http://schemas.microsoft.com/office/drawing/2014/main" id="{BDCE19BC-295A-4588-B30A-905A36A346E5}"/>
                    </a:ext>
                  </a:extLst>
                </p:cNvPr>
                <p:cNvSpPr/>
                <p:nvPr/>
              </p:nvSpPr>
              <p:spPr>
                <a:xfrm>
                  <a:off x="3606429" y="1892398"/>
                  <a:ext cx="230588" cy="230586"/>
                </a:xfrm>
                <a:prstGeom prst="donut">
                  <a:avLst/>
                </a:prstGeom>
                <a:solidFill>
                  <a:srgbClr val="00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46" name="Freeform 21">
                <a:extLst>
                  <a:ext uri="{FF2B5EF4-FFF2-40B4-BE49-F238E27FC236}">
                    <a16:creationId xmlns:a16="http://schemas.microsoft.com/office/drawing/2014/main" id="{25A1E04D-54ED-4C44-8C21-892BDBEEC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3536" y="5700236"/>
                <a:ext cx="686152" cy="686114"/>
              </a:xfrm>
              <a:custGeom>
                <a:avLst/>
                <a:gdLst>
                  <a:gd name="T0" fmla="*/ 62 w 439"/>
                  <a:gd name="T1" fmla="*/ 322 h 410"/>
                  <a:gd name="T2" fmla="*/ 106 w 439"/>
                  <a:gd name="T3" fmla="*/ 61 h 410"/>
                  <a:gd name="T4" fmla="*/ 376 w 439"/>
                  <a:gd name="T5" fmla="*/ 99 h 410"/>
                  <a:gd name="T6" fmla="*/ 327 w 439"/>
                  <a:gd name="T7" fmla="*/ 348 h 410"/>
                  <a:gd name="T8" fmla="*/ 62 w 439"/>
                  <a:gd name="T9" fmla="*/ 32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9" h="410">
                    <a:moveTo>
                      <a:pt x="62" y="322"/>
                    </a:moveTo>
                    <a:cubicBezTo>
                      <a:pt x="0" y="238"/>
                      <a:pt x="19" y="123"/>
                      <a:pt x="106" y="61"/>
                    </a:cubicBezTo>
                    <a:cubicBezTo>
                      <a:pt x="191" y="0"/>
                      <a:pt x="312" y="17"/>
                      <a:pt x="376" y="99"/>
                    </a:cubicBezTo>
                    <a:cubicBezTo>
                      <a:pt x="439" y="182"/>
                      <a:pt x="412" y="288"/>
                      <a:pt x="327" y="348"/>
                    </a:cubicBezTo>
                    <a:cubicBezTo>
                      <a:pt x="240" y="410"/>
                      <a:pt x="126" y="403"/>
                      <a:pt x="62" y="322"/>
                    </a:cubicBezTo>
                  </a:path>
                </a:pathLst>
              </a:custGeom>
              <a:solidFill>
                <a:srgbClr val="01D1D0"/>
              </a:solidFill>
              <a:ln w="19050">
                <a:noFill/>
              </a:ln>
            </p:spPr>
            <p:txBody>
              <a:bodyPr vert="horz" wrap="square" lIns="0" tIns="37148" rIns="0" bIns="371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7429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MSP4</a:t>
                </a:r>
              </a:p>
            </p:txBody>
          </p:sp>
        </p:grpSp>
        <p:sp>
          <p:nvSpPr>
            <p:cNvPr id="39" name="ZoneTexte 430">
              <a:extLst>
                <a:ext uri="{FF2B5EF4-FFF2-40B4-BE49-F238E27FC236}">
                  <a16:creationId xmlns:a16="http://schemas.microsoft.com/office/drawing/2014/main" id="{B7CC7EFA-7821-4865-BB2A-816439D3FA80}"/>
                </a:ext>
              </a:extLst>
            </p:cNvPr>
            <p:cNvSpPr txBox="1"/>
            <p:nvPr/>
          </p:nvSpPr>
          <p:spPr>
            <a:xfrm>
              <a:off x="8277683" y="1719948"/>
              <a:ext cx="211452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erfaces standardisées par la passerelle</a:t>
              </a:r>
            </a:p>
          </p:txBody>
        </p:sp>
        <p:sp>
          <p:nvSpPr>
            <p:cNvPr id="40" name="ZoneTexte 431">
              <a:extLst>
                <a:ext uri="{FF2B5EF4-FFF2-40B4-BE49-F238E27FC236}">
                  <a16:creationId xmlns:a16="http://schemas.microsoft.com/office/drawing/2014/main" id="{7E4D3CAF-AFDE-4D41-BEF5-9B6D1C559133}"/>
                </a:ext>
              </a:extLst>
            </p:cNvPr>
            <p:cNvSpPr txBox="1"/>
            <p:nvPr/>
          </p:nvSpPr>
          <p:spPr>
            <a:xfrm>
              <a:off x="2985117" y="1643054"/>
              <a:ext cx="804681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API de MCM</a:t>
              </a:r>
            </a:p>
          </p:txBody>
        </p:sp>
        <p:sp>
          <p:nvSpPr>
            <p:cNvPr id="41" name="ZoneTexte 436">
              <a:extLst>
                <a:ext uri="{FF2B5EF4-FFF2-40B4-BE49-F238E27FC236}">
                  <a16:creationId xmlns:a16="http://schemas.microsoft.com/office/drawing/2014/main" id="{EDA5691B-DB8A-4498-9BCE-1E52A9819A15}"/>
                </a:ext>
              </a:extLst>
            </p:cNvPr>
            <p:cNvSpPr txBox="1"/>
            <p:nvPr/>
          </p:nvSpPr>
          <p:spPr>
            <a:xfrm>
              <a:off x="3826827" y="1936339"/>
              <a:ext cx="2114525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erface de la passerelle</a:t>
              </a:r>
              <a:b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btention des adaptateurs</a:t>
              </a:r>
              <a:b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our un MSP cible</a:t>
              </a:r>
            </a:p>
          </p:txBody>
        </p:sp>
        <p:sp>
          <p:nvSpPr>
            <p:cNvPr id="42" name="ZoneTexte 157">
              <a:extLst>
                <a:ext uri="{FF2B5EF4-FFF2-40B4-BE49-F238E27FC236}">
                  <a16:creationId xmlns:a16="http://schemas.microsoft.com/office/drawing/2014/main" id="{422ED8C7-9CB1-4CB6-89DB-32CDAD6769C9}"/>
                </a:ext>
              </a:extLst>
            </p:cNvPr>
            <p:cNvSpPr txBox="1"/>
            <p:nvPr/>
          </p:nvSpPr>
          <p:spPr>
            <a:xfrm>
              <a:off x="1472461" y="4497965"/>
              <a:ext cx="200047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frastructure de MCM</a:t>
              </a:r>
            </a:p>
          </p:txBody>
        </p:sp>
        <p:cxnSp>
          <p:nvCxnSpPr>
            <p:cNvPr id="43" name="Connecteur droit avec flèche 2">
              <a:extLst>
                <a:ext uri="{FF2B5EF4-FFF2-40B4-BE49-F238E27FC236}">
                  <a16:creationId xmlns:a16="http://schemas.microsoft.com/office/drawing/2014/main" id="{14F6DC1E-06C6-4752-A09B-289DC8A1ABD0}"/>
                </a:ext>
              </a:extLst>
            </p:cNvPr>
            <p:cNvCxnSpPr>
              <a:cxnSpLocks/>
            </p:cNvCxnSpPr>
            <p:nvPr/>
          </p:nvCxnSpPr>
          <p:spPr>
            <a:xfrm>
              <a:off x="4920460" y="1552512"/>
              <a:ext cx="930465" cy="256464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avec flèche 161">
              <a:extLst>
                <a:ext uri="{FF2B5EF4-FFF2-40B4-BE49-F238E27FC236}">
                  <a16:creationId xmlns:a16="http://schemas.microsoft.com/office/drawing/2014/main" id="{FD97E2EE-9623-4AC4-973F-1CCA7BA1F7A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81513" y="1559328"/>
              <a:ext cx="1203459" cy="249648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2112BE03-9DE4-4F25-9D8F-36AE6D496A89}"/>
              </a:ext>
            </a:extLst>
          </p:cNvPr>
          <p:cNvGrpSpPr/>
          <p:nvPr/>
        </p:nvGrpSpPr>
        <p:grpSpPr>
          <a:xfrm>
            <a:off x="3081308" y="4893981"/>
            <a:ext cx="2699185" cy="1926838"/>
            <a:chOff x="125700" y="4627009"/>
            <a:chExt cx="3002210" cy="1926838"/>
          </a:xfrm>
        </p:grpSpPr>
        <p:grpSp>
          <p:nvGrpSpPr>
            <p:cNvPr id="158" name="Groupe 8">
              <a:extLst>
                <a:ext uri="{FF2B5EF4-FFF2-40B4-BE49-F238E27FC236}">
                  <a16:creationId xmlns:a16="http://schemas.microsoft.com/office/drawing/2014/main" id="{F79BEBFF-2DF1-4E02-BA11-505BEFF12029}"/>
                </a:ext>
              </a:extLst>
            </p:cNvPr>
            <p:cNvGrpSpPr/>
            <p:nvPr/>
          </p:nvGrpSpPr>
          <p:grpSpPr>
            <a:xfrm>
              <a:off x="308175" y="4627009"/>
              <a:ext cx="1227713" cy="200055"/>
              <a:chOff x="559095" y="5904604"/>
              <a:chExt cx="1227713" cy="200055"/>
            </a:xfrm>
          </p:grpSpPr>
          <p:grpSp>
            <p:nvGrpSpPr>
              <p:cNvPr id="176" name="Groupe 427">
                <a:extLst>
                  <a:ext uri="{FF2B5EF4-FFF2-40B4-BE49-F238E27FC236}">
                    <a16:creationId xmlns:a16="http://schemas.microsoft.com/office/drawing/2014/main" id="{74C3A078-A91D-440F-AAC1-B1F092C1783E}"/>
                  </a:ext>
                </a:extLst>
              </p:cNvPr>
              <p:cNvGrpSpPr/>
              <p:nvPr/>
            </p:nvGrpSpPr>
            <p:grpSpPr>
              <a:xfrm rot="16200000">
                <a:off x="633205" y="5869049"/>
                <a:ext cx="125114" cy="273333"/>
                <a:chOff x="2597254" y="5879878"/>
                <a:chExt cx="230588" cy="503759"/>
              </a:xfrm>
            </p:grpSpPr>
            <p:sp>
              <p:nvSpPr>
                <p:cNvPr id="178" name="Rectangle 177">
                  <a:extLst>
                    <a:ext uri="{FF2B5EF4-FFF2-40B4-BE49-F238E27FC236}">
                      <a16:creationId xmlns:a16="http://schemas.microsoft.com/office/drawing/2014/main" id="{4BCA8F1C-8A7C-4DA4-8AD1-8FEA7A7B34EC}"/>
                    </a:ext>
                  </a:extLst>
                </p:cNvPr>
                <p:cNvSpPr/>
                <p:nvPr/>
              </p:nvSpPr>
              <p:spPr>
                <a:xfrm>
                  <a:off x="2671257" y="6090132"/>
                  <a:ext cx="86574" cy="293505"/>
                </a:xfrm>
                <a:prstGeom prst="rect">
                  <a:avLst/>
                </a:prstGeom>
                <a:solidFill>
                  <a:schemeClr val="bg2">
                    <a:lumMod val="50000"/>
                  </a:schemeClr>
                </a:solidFill>
                <a:ln w="222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79" name="Bouée 426">
                  <a:extLst>
                    <a:ext uri="{FF2B5EF4-FFF2-40B4-BE49-F238E27FC236}">
                      <a16:creationId xmlns:a16="http://schemas.microsoft.com/office/drawing/2014/main" id="{B619B807-2D0A-4323-A40D-5A5B6B49299B}"/>
                    </a:ext>
                  </a:extLst>
                </p:cNvPr>
                <p:cNvSpPr/>
                <p:nvPr/>
              </p:nvSpPr>
              <p:spPr>
                <a:xfrm>
                  <a:off x="2597254" y="5879878"/>
                  <a:ext cx="230588" cy="230587"/>
                </a:xfrm>
                <a:prstGeom prst="donut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77" name="ZoneTexte 428">
                <a:extLst>
                  <a:ext uri="{FF2B5EF4-FFF2-40B4-BE49-F238E27FC236}">
                    <a16:creationId xmlns:a16="http://schemas.microsoft.com/office/drawing/2014/main" id="{5C588C50-9AB7-4A77-BA3A-603FED496277}"/>
                  </a:ext>
                </a:extLst>
              </p:cNvPr>
              <p:cNvSpPr txBox="1"/>
              <p:nvPr/>
            </p:nvSpPr>
            <p:spPr>
              <a:xfrm>
                <a:off x="795556" y="5904604"/>
                <a:ext cx="991252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Interface publiée</a:t>
                </a:r>
              </a:p>
            </p:txBody>
          </p:sp>
        </p:grpSp>
        <p:grpSp>
          <p:nvGrpSpPr>
            <p:cNvPr id="159" name="Groupe 9">
              <a:extLst>
                <a:ext uri="{FF2B5EF4-FFF2-40B4-BE49-F238E27FC236}">
                  <a16:creationId xmlns:a16="http://schemas.microsoft.com/office/drawing/2014/main" id="{E998CA47-61BB-4EE9-B7B9-19204B9B19A6}"/>
                </a:ext>
              </a:extLst>
            </p:cNvPr>
            <p:cNvGrpSpPr/>
            <p:nvPr/>
          </p:nvGrpSpPr>
          <p:grpSpPr>
            <a:xfrm>
              <a:off x="125700" y="4803643"/>
              <a:ext cx="1660843" cy="344164"/>
              <a:chOff x="401309" y="6144813"/>
              <a:chExt cx="1660843" cy="344164"/>
            </a:xfrm>
          </p:grpSpPr>
          <p:pic>
            <p:nvPicPr>
              <p:cNvPr id="174" name="Image 424">
                <a:extLst>
                  <a:ext uri="{FF2B5EF4-FFF2-40B4-BE49-F238E27FC236}">
                    <a16:creationId xmlns:a16="http://schemas.microsoft.com/office/drawing/2014/main" id="{00A793FB-0734-46CC-BBA3-D5C9507A94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17334" r="54753"/>
              <a:stretch/>
            </p:blipFill>
            <p:spPr>
              <a:xfrm rot="10800000">
                <a:off x="401309" y="6144813"/>
                <a:ext cx="257742" cy="282524"/>
              </a:xfrm>
              <a:prstGeom prst="rect">
                <a:avLst/>
              </a:prstGeom>
            </p:spPr>
          </p:pic>
          <p:sp>
            <p:nvSpPr>
              <p:cNvPr id="175" name="ZoneTexte 429">
                <a:extLst>
                  <a:ext uri="{FF2B5EF4-FFF2-40B4-BE49-F238E27FC236}">
                    <a16:creationId xmlns:a16="http://schemas.microsoft.com/office/drawing/2014/main" id="{1A23A193-17C1-4946-9622-E8276E0F7AEF}"/>
                  </a:ext>
                </a:extLst>
              </p:cNvPr>
              <p:cNvSpPr txBox="1"/>
              <p:nvPr/>
            </p:nvSpPr>
            <p:spPr>
              <a:xfrm>
                <a:off x="824335" y="6181200"/>
                <a:ext cx="12378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Interface requise / invoquée</a:t>
                </a:r>
              </a:p>
            </p:txBody>
          </p:sp>
        </p:grpSp>
        <p:grpSp>
          <p:nvGrpSpPr>
            <p:cNvPr id="160" name="Groupe 10">
              <a:extLst>
                <a:ext uri="{FF2B5EF4-FFF2-40B4-BE49-F238E27FC236}">
                  <a16:creationId xmlns:a16="http://schemas.microsoft.com/office/drawing/2014/main" id="{2403E7EF-A77B-4295-B547-6DAA614A5B90}"/>
                </a:ext>
              </a:extLst>
            </p:cNvPr>
            <p:cNvGrpSpPr/>
            <p:nvPr/>
          </p:nvGrpSpPr>
          <p:grpSpPr>
            <a:xfrm>
              <a:off x="135003" y="5111183"/>
              <a:ext cx="2365304" cy="278377"/>
              <a:chOff x="1572699" y="5661887"/>
              <a:chExt cx="2365304" cy="278377"/>
            </a:xfrm>
          </p:grpSpPr>
          <p:pic>
            <p:nvPicPr>
              <p:cNvPr id="172" name="Image 6">
                <a:extLst>
                  <a:ext uri="{FF2B5EF4-FFF2-40B4-BE49-F238E27FC236}">
                    <a16:creationId xmlns:a16="http://schemas.microsoft.com/office/drawing/2014/main" id="{6FDC1ED4-8BDA-40A3-B4AE-289C978742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72699" y="5661887"/>
                <a:ext cx="457333" cy="278377"/>
              </a:xfrm>
              <a:prstGeom prst="rect">
                <a:avLst/>
              </a:prstGeom>
            </p:spPr>
          </p:pic>
          <p:sp>
            <p:nvSpPr>
              <p:cNvPr id="173" name="ZoneTexte 260">
                <a:extLst>
                  <a:ext uri="{FF2B5EF4-FFF2-40B4-BE49-F238E27FC236}">
                    <a16:creationId xmlns:a16="http://schemas.microsoft.com/office/drawing/2014/main" id="{70BE0A8E-92EF-42D5-ABBE-BE4EF10CC765}"/>
                  </a:ext>
                </a:extLst>
              </p:cNvPr>
              <p:cNvSpPr txBox="1"/>
              <p:nvPr/>
            </p:nvSpPr>
            <p:spPr>
              <a:xfrm>
                <a:off x="1986422" y="5705184"/>
                <a:ext cx="1951581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ontrat de MCM – gestion des aides</a:t>
                </a:r>
              </a:p>
            </p:txBody>
          </p:sp>
        </p:grpSp>
        <p:grpSp>
          <p:nvGrpSpPr>
            <p:cNvPr id="161" name="Groupe 11">
              <a:extLst>
                <a:ext uri="{FF2B5EF4-FFF2-40B4-BE49-F238E27FC236}">
                  <a16:creationId xmlns:a16="http://schemas.microsoft.com/office/drawing/2014/main" id="{7176C2F8-E379-4C4D-917F-DF8B511297CF}"/>
                </a:ext>
              </a:extLst>
            </p:cNvPr>
            <p:cNvGrpSpPr/>
            <p:nvPr/>
          </p:nvGrpSpPr>
          <p:grpSpPr>
            <a:xfrm>
              <a:off x="135003" y="5396232"/>
              <a:ext cx="2992907" cy="347981"/>
              <a:chOff x="1572699" y="5946936"/>
              <a:chExt cx="2992907" cy="347981"/>
            </a:xfrm>
          </p:grpSpPr>
          <p:pic>
            <p:nvPicPr>
              <p:cNvPr id="170" name="Image 7">
                <a:extLst>
                  <a:ext uri="{FF2B5EF4-FFF2-40B4-BE49-F238E27FC236}">
                    <a16:creationId xmlns:a16="http://schemas.microsoft.com/office/drawing/2014/main" id="{6BA3F5E2-1FD4-4B28-B68E-793CBD6BA8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572699" y="5946936"/>
                <a:ext cx="457334" cy="278377"/>
              </a:xfrm>
              <a:prstGeom prst="rect">
                <a:avLst/>
              </a:prstGeom>
            </p:spPr>
          </p:pic>
          <p:sp>
            <p:nvSpPr>
              <p:cNvPr id="171" name="ZoneTexte 261">
                <a:extLst>
                  <a:ext uri="{FF2B5EF4-FFF2-40B4-BE49-F238E27FC236}">
                    <a16:creationId xmlns:a16="http://schemas.microsoft.com/office/drawing/2014/main" id="{DC80195F-64E3-406F-B581-E441520D6BFE}"/>
                  </a:ext>
                </a:extLst>
              </p:cNvPr>
              <p:cNvSpPr txBox="1"/>
              <p:nvPr/>
            </p:nvSpPr>
            <p:spPr>
              <a:xfrm>
                <a:off x="1986422" y="5987140"/>
                <a:ext cx="257918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ontrat de la passerelle – obtention des interfaces MSP standards</a:t>
                </a:r>
              </a:p>
            </p:txBody>
          </p:sp>
        </p:grpSp>
        <p:grpSp>
          <p:nvGrpSpPr>
            <p:cNvPr id="162" name="Groupe 12">
              <a:extLst>
                <a:ext uri="{FF2B5EF4-FFF2-40B4-BE49-F238E27FC236}">
                  <a16:creationId xmlns:a16="http://schemas.microsoft.com/office/drawing/2014/main" id="{FA19F0B8-9433-4409-95EF-84526F2739F3}"/>
                </a:ext>
              </a:extLst>
            </p:cNvPr>
            <p:cNvGrpSpPr/>
            <p:nvPr/>
          </p:nvGrpSpPr>
          <p:grpSpPr>
            <a:xfrm>
              <a:off x="134308" y="5688323"/>
              <a:ext cx="2993602" cy="337243"/>
              <a:chOff x="1572004" y="6239027"/>
              <a:chExt cx="2993602" cy="337243"/>
            </a:xfrm>
          </p:grpSpPr>
          <p:pic>
            <p:nvPicPr>
              <p:cNvPr id="168" name="Image 5">
                <a:extLst>
                  <a:ext uri="{FF2B5EF4-FFF2-40B4-BE49-F238E27FC236}">
                    <a16:creationId xmlns:a16="http://schemas.microsoft.com/office/drawing/2014/main" id="{CA74524A-E21B-4E4D-A64C-5326F520EC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572004" y="6239027"/>
                <a:ext cx="452313" cy="275321"/>
              </a:xfrm>
              <a:prstGeom prst="rect">
                <a:avLst/>
              </a:prstGeom>
            </p:spPr>
          </p:pic>
          <p:sp>
            <p:nvSpPr>
              <p:cNvPr id="169" name="ZoneTexte 262">
                <a:extLst>
                  <a:ext uri="{FF2B5EF4-FFF2-40B4-BE49-F238E27FC236}">
                    <a16:creationId xmlns:a16="http://schemas.microsoft.com/office/drawing/2014/main" id="{5BEFD941-E945-45AD-9F36-F4B419791692}"/>
                  </a:ext>
                </a:extLst>
              </p:cNvPr>
              <p:cNvSpPr txBox="1"/>
              <p:nvPr/>
            </p:nvSpPr>
            <p:spPr>
              <a:xfrm>
                <a:off x="1986422" y="6268493"/>
                <a:ext cx="257918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ontrats MSP standards – résultats de l’adaptation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par la Gateway</a:t>
                </a:r>
              </a:p>
            </p:txBody>
          </p:sp>
        </p:grpSp>
        <p:grpSp>
          <p:nvGrpSpPr>
            <p:cNvPr id="163" name="Groupe 13">
              <a:extLst>
                <a:ext uri="{FF2B5EF4-FFF2-40B4-BE49-F238E27FC236}">
                  <a16:creationId xmlns:a16="http://schemas.microsoft.com/office/drawing/2014/main" id="{79513A00-1E3E-46F2-9B9D-6D3B96591941}"/>
                </a:ext>
              </a:extLst>
            </p:cNvPr>
            <p:cNvGrpSpPr/>
            <p:nvPr/>
          </p:nvGrpSpPr>
          <p:grpSpPr>
            <a:xfrm>
              <a:off x="127318" y="5974846"/>
              <a:ext cx="3000592" cy="579001"/>
              <a:chOff x="1565014" y="6525550"/>
              <a:chExt cx="3000592" cy="579001"/>
            </a:xfrm>
          </p:grpSpPr>
          <p:pic>
            <p:nvPicPr>
              <p:cNvPr id="164" name="Image 4">
                <a:extLst>
                  <a:ext uri="{FF2B5EF4-FFF2-40B4-BE49-F238E27FC236}">
                    <a16:creationId xmlns:a16="http://schemas.microsoft.com/office/drawing/2014/main" id="{B229D636-8646-4959-A032-B821E434D3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565014" y="6525550"/>
                <a:ext cx="450562" cy="274256"/>
              </a:xfrm>
              <a:prstGeom prst="rect">
                <a:avLst/>
              </a:prstGeom>
            </p:spPr>
          </p:pic>
          <p:sp>
            <p:nvSpPr>
              <p:cNvPr id="165" name="ZoneTexte 263">
                <a:extLst>
                  <a:ext uri="{FF2B5EF4-FFF2-40B4-BE49-F238E27FC236}">
                    <a16:creationId xmlns:a16="http://schemas.microsoft.com/office/drawing/2014/main" id="{8C63048A-E40B-4D94-8108-FB15E711C732}"/>
                  </a:ext>
                </a:extLst>
              </p:cNvPr>
              <p:cNvSpPr txBox="1"/>
              <p:nvPr/>
            </p:nvSpPr>
            <p:spPr>
              <a:xfrm>
                <a:off x="1986422" y="6562636"/>
                <a:ext cx="2579184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ontrats propriétaires des MSPs</a:t>
                </a:r>
              </a:p>
            </p:txBody>
          </p:sp>
          <p:pic>
            <p:nvPicPr>
              <p:cNvPr id="166" name="Image 4">
                <a:extLst>
                  <a:ext uri="{FF2B5EF4-FFF2-40B4-BE49-F238E27FC236}">
                    <a16:creationId xmlns:a16="http://schemas.microsoft.com/office/drawing/2014/main" id="{EF816FC3-A577-4352-BB49-9EAA254AA8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1565014" y="6830295"/>
                <a:ext cx="450562" cy="274256"/>
              </a:xfrm>
              <a:prstGeom prst="rect">
                <a:avLst/>
              </a:prstGeom>
            </p:spPr>
          </p:pic>
          <p:sp>
            <p:nvSpPr>
              <p:cNvPr id="167" name="ZoneTexte 263">
                <a:extLst>
                  <a:ext uri="{FF2B5EF4-FFF2-40B4-BE49-F238E27FC236}">
                    <a16:creationId xmlns:a16="http://schemas.microsoft.com/office/drawing/2014/main" id="{6809143B-79BF-46A0-B700-09BF6AB14F8B}"/>
                  </a:ext>
                </a:extLst>
              </p:cNvPr>
              <p:cNvSpPr txBox="1"/>
              <p:nvPr/>
            </p:nvSpPr>
            <p:spPr>
              <a:xfrm>
                <a:off x="1986422" y="6867381"/>
                <a:ext cx="2579184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5E5E5E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Contrats standards</a:t>
                </a:r>
              </a:p>
            </p:txBody>
          </p:sp>
        </p:grpSp>
      </p:grp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5741845-6DDE-4064-A1C4-AF6F9E514FF5}"/>
              </a:ext>
            </a:extLst>
          </p:cNvPr>
          <p:cNvSpPr/>
          <p:nvPr/>
        </p:nvSpPr>
        <p:spPr>
          <a:xfrm rot="16200000">
            <a:off x="1530351" y="2935817"/>
            <a:ext cx="65137" cy="1013406"/>
          </a:xfrm>
          <a:prstGeom prst="rect">
            <a:avLst/>
          </a:prstGeom>
          <a:solidFill>
            <a:schemeClr val="bg1">
              <a:lumMod val="75000"/>
            </a:schemeClr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2" name="Image 362">
            <a:extLst>
              <a:ext uri="{FF2B5EF4-FFF2-40B4-BE49-F238E27FC236}">
                <a16:creationId xmlns:a16="http://schemas.microsoft.com/office/drawing/2014/main" id="{DC0503A6-A811-4FFF-B170-F8F4419562F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grayscl/>
          </a:blip>
          <a:srcRect l="19967" r="64490" b="1086"/>
          <a:stretch/>
        </p:blipFill>
        <p:spPr>
          <a:xfrm>
            <a:off x="841438" y="3163501"/>
            <a:ext cx="232926" cy="527609"/>
          </a:xfrm>
          <a:prstGeom prst="rect">
            <a:avLst/>
          </a:prstGeom>
        </p:spPr>
      </p:pic>
      <p:sp>
        <p:nvSpPr>
          <p:cNvPr id="183" name="Rectangle 182">
            <a:extLst>
              <a:ext uri="{FF2B5EF4-FFF2-40B4-BE49-F238E27FC236}">
                <a16:creationId xmlns:a16="http://schemas.microsoft.com/office/drawing/2014/main" id="{1A80DDB2-E521-44F3-B842-7D453FD253D0}"/>
              </a:ext>
            </a:extLst>
          </p:cNvPr>
          <p:cNvSpPr/>
          <p:nvPr/>
        </p:nvSpPr>
        <p:spPr>
          <a:xfrm rot="12202181">
            <a:off x="674591" y="3505235"/>
            <a:ext cx="94061" cy="391793"/>
          </a:xfrm>
          <a:prstGeom prst="rect">
            <a:avLst/>
          </a:prstGeom>
          <a:solidFill>
            <a:schemeClr val="bg1">
              <a:lumMod val="75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4" name="Bouée 137">
            <a:extLst>
              <a:ext uri="{FF2B5EF4-FFF2-40B4-BE49-F238E27FC236}">
                <a16:creationId xmlns:a16="http://schemas.microsoft.com/office/drawing/2014/main" id="{365E4FEA-605C-46F6-8BC6-7DF7CB1BFFDA}"/>
              </a:ext>
            </a:extLst>
          </p:cNvPr>
          <p:cNvSpPr/>
          <p:nvPr/>
        </p:nvSpPr>
        <p:spPr>
          <a:xfrm rot="16200000">
            <a:off x="722244" y="3315512"/>
            <a:ext cx="230588" cy="230586"/>
          </a:xfrm>
          <a:prstGeom prst="donu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5" name="Freeform 21">
            <a:extLst>
              <a:ext uri="{FF2B5EF4-FFF2-40B4-BE49-F238E27FC236}">
                <a16:creationId xmlns:a16="http://schemas.microsoft.com/office/drawing/2014/main" id="{FCD2E5FD-993A-4B0C-A5A6-A57973D1D3FC}"/>
              </a:ext>
            </a:extLst>
          </p:cNvPr>
          <p:cNvSpPr>
            <a:spLocks/>
          </p:cNvSpPr>
          <p:nvPr/>
        </p:nvSpPr>
        <p:spPr bwMode="auto">
          <a:xfrm>
            <a:off x="222787" y="3754311"/>
            <a:ext cx="686152" cy="686114"/>
          </a:xfrm>
          <a:custGeom>
            <a:avLst/>
            <a:gdLst>
              <a:gd name="T0" fmla="*/ 62 w 439"/>
              <a:gd name="T1" fmla="*/ 322 h 410"/>
              <a:gd name="T2" fmla="*/ 106 w 439"/>
              <a:gd name="T3" fmla="*/ 61 h 410"/>
              <a:gd name="T4" fmla="*/ 376 w 439"/>
              <a:gd name="T5" fmla="*/ 99 h 410"/>
              <a:gd name="T6" fmla="*/ 327 w 439"/>
              <a:gd name="T7" fmla="*/ 348 h 410"/>
              <a:gd name="T8" fmla="*/ 62 w 439"/>
              <a:gd name="T9" fmla="*/ 322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9" h="410">
                <a:moveTo>
                  <a:pt x="62" y="322"/>
                </a:moveTo>
                <a:cubicBezTo>
                  <a:pt x="0" y="238"/>
                  <a:pt x="19" y="123"/>
                  <a:pt x="106" y="61"/>
                </a:cubicBezTo>
                <a:cubicBezTo>
                  <a:pt x="191" y="0"/>
                  <a:pt x="312" y="17"/>
                  <a:pt x="376" y="99"/>
                </a:cubicBezTo>
                <a:cubicBezTo>
                  <a:pt x="439" y="182"/>
                  <a:pt x="412" y="288"/>
                  <a:pt x="327" y="348"/>
                </a:cubicBezTo>
                <a:cubicBezTo>
                  <a:pt x="240" y="410"/>
                  <a:pt x="126" y="403"/>
                  <a:pt x="62" y="322"/>
                </a:cubicBezTo>
              </a:path>
            </a:pathLst>
          </a:custGeom>
          <a:solidFill>
            <a:schemeClr val="bg1">
              <a:lumMod val="75000"/>
            </a:schemeClr>
          </a:solidFill>
          <a:ln w="19050">
            <a:noFill/>
          </a:ln>
        </p:spPr>
        <p:txBody>
          <a:bodyPr vert="horz" wrap="square" lIns="0" tIns="37148" rIns="0" bIns="37148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ntreprise</a:t>
            </a:r>
          </a:p>
        </p:txBody>
      </p:sp>
      <p:sp>
        <p:nvSpPr>
          <p:cNvPr id="186" name="ZoneTexte 432">
            <a:extLst>
              <a:ext uri="{FF2B5EF4-FFF2-40B4-BE49-F238E27FC236}">
                <a16:creationId xmlns:a16="http://schemas.microsoft.com/office/drawing/2014/main" id="{EFB86BD6-99D8-4724-8588-5C4CA2DEB992}"/>
              </a:ext>
            </a:extLst>
          </p:cNvPr>
          <p:cNvSpPr txBox="1"/>
          <p:nvPr/>
        </p:nvSpPr>
        <p:spPr>
          <a:xfrm>
            <a:off x="7700484" y="5112359"/>
            <a:ext cx="153978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trats d’interfaces propriétai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éfinis par les MS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87" name="Connecteur droit avec flèche 185">
            <a:extLst>
              <a:ext uri="{FF2B5EF4-FFF2-40B4-BE49-F238E27FC236}">
                <a16:creationId xmlns:a16="http://schemas.microsoft.com/office/drawing/2014/main" id="{6A094535-FEC1-400B-851D-D89DD0BC61DC}"/>
              </a:ext>
            </a:extLst>
          </p:cNvPr>
          <p:cNvCxnSpPr/>
          <p:nvPr/>
        </p:nvCxnSpPr>
        <p:spPr>
          <a:xfrm>
            <a:off x="10251790" y="3872201"/>
            <a:ext cx="718719" cy="0"/>
          </a:xfrm>
          <a:prstGeom prst="straightConnector1">
            <a:avLst/>
          </a:prstGeom>
          <a:noFill/>
          <a:ln w="25400" cap="flat">
            <a:solidFill>
              <a:schemeClr val="accent1">
                <a:lumMod val="75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8" name="ZoneTexte 432">
            <a:extLst>
              <a:ext uri="{FF2B5EF4-FFF2-40B4-BE49-F238E27FC236}">
                <a16:creationId xmlns:a16="http://schemas.microsoft.com/office/drawing/2014/main" id="{71ED4284-3B3D-47F0-82D7-42920554EF63}"/>
              </a:ext>
            </a:extLst>
          </p:cNvPr>
          <p:cNvSpPr txBox="1"/>
          <p:nvPr/>
        </p:nvSpPr>
        <p:spPr>
          <a:xfrm>
            <a:off x="10918242" y="3720328"/>
            <a:ext cx="13368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es adaptateurs spécifiques sont utilisés si pas de standard défini pour l’interfaçage MSP - Maa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97DC1ACA-92AB-46DF-80FE-102FABF46B70}"/>
              </a:ext>
            </a:extLst>
          </p:cNvPr>
          <p:cNvSpPr/>
          <p:nvPr/>
        </p:nvSpPr>
        <p:spPr>
          <a:xfrm rot="12927550">
            <a:off x="6376147" y="5554212"/>
            <a:ext cx="518763" cy="289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7407A381-DA66-45D2-AF45-E385AE2BB1CF}"/>
              </a:ext>
            </a:extLst>
          </p:cNvPr>
          <p:cNvSpPr/>
          <p:nvPr/>
        </p:nvSpPr>
        <p:spPr>
          <a:xfrm>
            <a:off x="6757912" y="5632150"/>
            <a:ext cx="86575" cy="29350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9" name="Bouée 169">
            <a:extLst>
              <a:ext uri="{FF2B5EF4-FFF2-40B4-BE49-F238E27FC236}">
                <a16:creationId xmlns:a16="http://schemas.microsoft.com/office/drawing/2014/main" id="{08C5DF9B-4397-413E-8D76-AECA1B2EE09A}"/>
              </a:ext>
            </a:extLst>
          </p:cNvPr>
          <p:cNvSpPr/>
          <p:nvPr/>
        </p:nvSpPr>
        <p:spPr>
          <a:xfrm>
            <a:off x="6683910" y="5421878"/>
            <a:ext cx="230588" cy="230586"/>
          </a:xfrm>
          <a:prstGeom prst="donu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0" name="Freeform 21">
            <a:extLst>
              <a:ext uri="{FF2B5EF4-FFF2-40B4-BE49-F238E27FC236}">
                <a16:creationId xmlns:a16="http://schemas.microsoft.com/office/drawing/2014/main" id="{A04A325B-F58F-403D-90D5-2D03D28B1B8E}"/>
              </a:ext>
            </a:extLst>
          </p:cNvPr>
          <p:cNvSpPr>
            <a:spLocks/>
          </p:cNvSpPr>
          <p:nvPr/>
        </p:nvSpPr>
        <p:spPr bwMode="auto">
          <a:xfrm>
            <a:off x="6456128" y="5730509"/>
            <a:ext cx="686152" cy="686114"/>
          </a:xfrm>
          <a:custGeom>
            <a:avLst/>
            <a:gdLst>
              <a:gd name="T0" fmla="*/ 62 w 439"/>
              <a:gd name="T1" fmla="*/ 322 h 410"/>
              <a:gd name="T2" fmla="*/ 106 w 439"/>
              <a:gd name="T3" fmla="*/ 61 h 410"/>
              <a:gd name="T4" fmla="*/ 376 w 439"/>
              <a:gd name="T5" fmla="*/ 99 h 410"/>
              <a:gd name="T6" fmla="*/ 327 w 439"/>
              <a:gd name="T7" fmla="*/ 348 h 410"/>
              <a:gd name="T8" fmla="*/ 62 w 439"/>
              <a:gd name="T9" fmla="*/ 322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9" h="410">
                <a:moveTo>
                  <a:pt x="62" y="322"/>
                </a:moveTo>
                <a:cubicBezTo>
                  <a:pt x="0" y="238"/>
                  <a:pt x="19" y="123"/>
                  <a:pt x="106" y="61"/>
                </a:cubicBezTo>
                <a:cubicBezTo>
                  <a:pt x="191" y="0"/>
                  <a:pt x="312" y="17"/>
                  <a:pt x="376" y="99"/>
                </a:cubicBezTo>
                <a:cubicBezTo>
                  <a:pt x="439" y="182"/>
                  <a:pt x="412" y="288"/>
                  <a:pt x="327" y="348"/>
                </a:cubicBezTo>
                <a:cubicBezTo>
                  <a:pt x="240" y="410"/>
                  <a:pt x="126" y="403"/>
                  <a:pt x="62" y="322"/>
                </a:cubicBez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noFill/>
          </a:ln>
        </p:spPr>
        <p:txBody>
          <a:bodyPr vert="horz" wrap="square" lIns="0" tIns="37148" rIns="0" bIns="37148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SP5</a:t>
            </a:r>
          </a:p>
        </p:txBody>
      </p:sp>
      <p:sp>
        <p:nvSpPr>
          <p:cNvPr id="206" name="Rectangle : coins arrondis 254">
            <a:extLst>
              <a:ext uri="{FF2B5EF4-FFF2-40B4-BE49-F238E27FC236}">
                <a16:creationId xmlns:a16="http://schemas.microsoft.com/office/drawing/2014/main" id="{9E81D04B-F633-48A4-8598-2773AB4368F8}"/>
              </a:ext>
            </a:extLst>
          </p:cNvPr>
          <p:cNvSpPr/>
          <p:nvPr/>
        </p:nvSpPr>
        <p:spPr>
          <a:xfrm rot="10800000" flipH="1" flipV="1">
            <a:off x="4349160" y="4537991"/>
            <a:ext cx="5872686" cy="220215"/>
          </a:xfrm>
          <a:prstGeom prst="roundRect">
            <a:avLst>
              <a:gd name="adj" fmla="val 8836"/>
            </a:avLst>
          </a:prstGeom>
          <a:noFill/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D5D5D5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aptateurs du transport</a:t>
            </a:r>
          </a:p>
        </p:txBody>
      </p:sp>
      <p:sp>
        <p:nvSpPr>
          <p:cNvPr id="207" name="Ellipse 236">
            <a:extLst>
              <a:ext uri="{FF2B5EF4-FFF2-40B4-BE49-F238E27FC236}">
                <a16:creationId xmlns:a16="http://schemas.microsoft.com/office/drawing/2014/main" id="{20827C54-E47C-437F-B12B-2B6B8186EF54}"/>
              </a:ext>
            </a:extLst>
          </p:cNvPr>
          <p:cNvSpPr/>
          <p:nvPr/>
        </p:nvSpPr>
        <p:spPr>
          <a:xfrm rot="12927550">
            <a:off x="6597212" y="5334324"/>
            <a:ext cx="399324" cy="414611"/>
          </a:xfrm>
          <a:prstGeom prst="ellipse">
            <a:avLst/>
          </a:prstGeom>
          <a:noFill/>
          <a:ln w="7302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3CB1319D-363B-47EB-8922-E086CAB8A997}"/>
              </a:ext>
            </a:extLst>
          </p:cNvPr>
          <p:cNvSpPr/>
          <p:nvPr/>
        </p:nvSpPr>
        <p:spPr>
          <a:xfrm rot="10447249">
            <a:off x="6726201" y="4498480"/>
            <a:ext cx="107204" cy="83814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8" name="Rectangle : coins arrondis 173">
            <a:extLst>
              <a:ext uri="{FF2B5EF4-FFF2-40B4-BE49-F238E27FC236}">
                <a16:creationId xmlns:a16="http://schemas.microsoft.com/office/drawing/2014/main" id="{5C150716-F66C-4E33-982C-06BA62A605A6}"/>
              </a:ext>
            </a:extLst>
          </p:cNvPr>
          <p:cNvSpPr/>
          <p:nvPr/>
        </p:nvSpPr>
        <p:spPr>
          <a:xfrm rot="10800000" flipH="1" flipV="1">
            <a:off x="6020244" y="4595695"/>
            <a:ext cx="726930" cy="125610"/>
          </a:xfrm>
          <a:prstGeom prst="roundRect">
            <a:avLst>
              <a:gd name="adj" fmla="val 8836"/>
            </a:avLst>
          </a:prstGeom>
          <a:solidFill>
            <a:srgbClr val="C9EAB5"/>
          </a:solidFill>
          <a:ln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>
                <a:ln>
                  <a:noFill/>
                </a:ln>
                <a:solidFill>
                  <a:srgbClr val="D5D5D5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HTTP REST</a:t>
            </a:r>
          </a:p>
        </p:txBody>
      </p:sp>
      <p:sp>
        <p:nvSpPr>
          <p:cNvPr id="209" name="Rectangle : coins arrondis 173">
            <a:extLst>
              <a:ext uri="{FF2B5EF4-FFF2-40B4-BE49-F238E27FC236}">
                <a16:creationId xmlns:a16="http://schemas.microsoft.com/office/drawing/2014/main" id="{AF13130D-C40D-4B11-9180-CD104DE54256}"/>
              </a:ext>
            </a:extLst>
          </p:cNvPr>
          <p:cNvSpPr/>
          <p:nvPr/>
        </p:nvSpPr>
        <p:spPr>
          <a:xfrm rot="10800000" flipH="1" flipV="1">
            <a:off x="6800450" y="4600497"/>
            <a:ext cx="726930" cy="125610"/>
          </a:xfrm>
          <a:prstGeom prst="roundRect">
            <a:avLst>
              <a:gd name="adj" fmla="val 8836"/>
            </a:avLst>
          </a:prstGeom>
          <a:solidFill>
            <a:srgbClr val="C9EAB5"/>
          </a:solidFill>
          <a:ln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>
                <a:ln>
                  <a:noFill/>
                </a:ln>
                <a:solidFill>
                  <a:srgbClr val="D5D5D5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HTTP SOAP</a:t>
            </a:r>
          </a:p>
        </p:txBody>
      </p:sp>
      <p:sp>
        <p:nvSpPr>
          <p:cNvPr id="202" name="Title 2">
            <a:extLst>
              <a:ext uri="{FF2B5EF4-FFF2-40B4-BE49-F238E27FC236}">
                <a16:creationId xmlns:a16="http://schemas.microsoft.com/office/drawing/2014/main" id="{D4008C0A-859C-417C-A41E-7928A5D9A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200" y="231712"/>
            <a:ext cx="10437680" cy="906208"/>
          </a:xfrm>
        </p:spPr>
        <p:txBody>
          <a:bodyPr/>
          <a:lstStyle/>
          <a:p>
            <a:r>
              <a:rPr lang="fr-FR"/>
              <a:t>Zoom sur le HUB : Opportunité de capitaliser sur la Gateway </a:t>
            </a:r>
            <a:r>
              <a:rPr lang="fr-FR" err="1"/>
              <a:t>MaaX</a:t>
            </a:r>
            <a:r>
              <a:rPr lang="fr-FR"/>
              <a:t> en cas d’intégration d’IDFM au périmètre pilote</a:t>
            </a:r>
          </a:p>
        </p:txBody>
      </p:sp>
      <p:pic>
        <p:nvPicPr>
          <p:cNvPr id="203" name="Graphique 177" descr="Loupe">
            <a:extLst>
              <a:ext uri="{FF2B5EF4-FFF2-40B4-BE49-F238E27FC236}">
                <a16:creationId xmlns:a16="http://schemas.microsoft.com/office/drawing/2014/main" id="{D063B003-E357-40E0-9B83-4B0DD9EB893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5400000">
            <a:off x="30974" y="352301"/>
            <a:ext cx="512138" cy="512138"/>
          </a:xfrm>
          <a:prstGeom prst="rect">
            <a:avLst/>
          </a:prstGeom>
        </p:spPr>
      </p:pic>
      <p:sp>
        <p:nvSpPr>
          <p:cNvPr id="189" name="ZoneTexte 432">
            <a:extLst>
              <a:ext uri="{FF2B5EF4-FFF2-40B4-BE49-F238E27FC236}">
                <a16:creationId xmlns:a16="http://schemas.microsoft.com/office/drawing/2014/main" id="{8E967FD1-B491-44E4-B7EC-EF212D0675EA}"/>
              </a:ext>
            </a:extLst>
          </p:cNvPr>
          <p:cNvSpPr txBox="1"/>
          <p:nvPr/>
        </p:nvSpPr>
        <p:spPr>
          <a:xfrm>
            <a:off x="6150197" y="5111204"/>
            <a:ext cx="147273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terface Standard (ex. REDEX+)</a:t>
            </a:r>
          </a:p>
        </p:txBody>
      </p:sp>
    </p:spTree>
    <p:extLst>
      <p:ext uri="{BB962C8B-B14F-4D97-AF65-F5344CB8AC3E}">
        <p14:creationId xmlns:p14="http://schemas.microsoft.com/office/powerpoint/2010/main" val="3995370739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2ADFF0-9F7B-450A-8691-4C7A6EB6E64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1CF3BA4-E3D5-4D8F-8D23-FF23DF275645}"/>
              </a:ext>
            </a:extLst>
          </p:cNvPr>
          <p:cNvSpPr txBox="1"/>
          <p:nvPr/>
        </p:nvSpPr>
        <p:spPr>
          <a:xfrm>
            <a:off x="838200" y="1266940"/>
            <a:ext cx="49456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es parcours des différents MaaS s’organisent autour de différentes grandes étapes :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51AB0D4F-1A0E-4301-8143-F7B296B553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7194001"/>
              </p:ext>
            </p:extLst>
          </p:nvPr>
        </p:nvGraphicFramePr>
        <p:xfrm>
          <a:off x="1805049" y="1786996"/>
          <a:ext cx="8312728" cy="243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30F1AFB1-353D-4CEA-9882-D0559675AA63}"/>
              </a:ext>
            </a:extLst>
          </p:cNvPr>
          <p:cNvSpPr txBox="1"/>
          <p:nvPr/>
        </p:nvSpPr>
        <p:spPr>
          <a:xfrm>
            <a:off x="1712993" y="2168031"/>
            <a:ext cx="3305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860864"/>
                </a:solidFill>
                <a:effectLst/>
                <a:uLnTx/>
                <a:uFillTx/>
                <a:latin typeface="Corbel" panose="020B0503020204020204" pitchFamily="34" charset="0"/>
                <a:ea typeface="Verdana" panose="020B0604030504040204" pitchFamily="34" charset="0"/>
                <a:cs typeface="+mn-cs"/>
              </a:rPr>
              <a:t>INITIALISATION DU SERVIC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22C2485-A572-4376-9D79-3445E0711CBF}"/>
              </a:ext>
            </a:extLst>
          </p:cNvPr>
          <p:cNvSpPr txBox="1"/>
          <p:nvPr/>
        </p:nvSpPr>
        <p:spPr>
          <a:xfrm>
            <a:off x="1692369" y="4033186"/>
            <a:ext cx="3305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Verdana" panose="020B0604030504040204" pitchFamily="34" charset="0"/>
                <a:cs typeface="+mn-cs"/>
              </a:rPr>
              <a:t>UTILISATION DU SERVICE</a:t>
            </a:r>
          </a:p>
        </p:txBody>
      </p:sp>
      <p:graphicFrame>
        <p:nvGraphicFramePr>
          <p:cNvPr id="10" name="Espace réservé du contenu 5">
            <a:extLst>
              <a:ext uri="{FF2B5EF4-FFF2-40B4-BE49-F238E27FC236}">
                <a16:creationId xmlns:a16="http://schemas.microsoft.com/office/drawing/2014/main" id="{36C962FD-5077-43AC-80E6-F17075FC0B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7882806"/>
              </p:ext>
            </p:extLst>
          </p:nvPr>
        </p:nvGraphicFramePr>
        <p:xfrm>
          <a:off x="1805049" y="4461237"/>
          <a:ext cx="8312728" cy="13572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3DA1ADA1-FEBF-487A-A03B-6F9DB04BAB93}"/>
              </a:ext>
            </a:extLst>
          </p:cNvPr>
          <p:cNvCxnSpPr>
            <a:cxnSpLocks/>
          </p:cNvCxnSpPr>
          <p:nvPr/>
        </p:nvCxnSpPr>
        <p:spPr>
          <a:xfrm>
            <a:off x="1805049" y="4520204"/>
            <a:ext cx="5864990" cy="0"/>
          </a:xfrm>
          <a:prstGeom prst="straightConnector1">
            <a:avLst/>
          </a:prstGeom>
          <a:ln>
            <a:solidFill>
              <a:srgbClr val="0F999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>
            <a:extLst>
              <a:ext uri="{FF2B5EF4-FFF2-40B4-BE49-F238E27FC236}">
                <a16:creationId xmlns:a16="http://schemas.microsoft.com/office/drawing/2014/main" id="{0C3924E7-855A-4107-96BC-918B1B781985}"/>
              </a:ext>
            </a:extLst>
          </p:cNvPr>
          <p:cNvSpPr txBox="1"/>
          <p:nvPr/>
        </p:nvSpPr>
        <p:spPr>
          <a:xfrm>
            <a:off x="4112359" y="4371682"/>
            <a:ext cx="1321106" cy="307777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F999C"/>
                </a:solidFill>
                <a:effectLst/>
                <a:uLnTx/>
                <a:uFillTx/>
                <a:latin typeface="Corbel" panose="020B0503020204020204" pitchFamily="34" charset="0"/>
                <a:ea typeface="Verdana" panose="020B0604030504040204" pitchFamily="34" charset="0"/>
                <a:cs typeface="+mn-cs"/>
              </a:rPr>
              <a:t>DECOUVERTE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05D251D7-203C-4C10-8D32-EAFBED08E8FD}"/>
              </a:ext>
            </a:extLst>
          </p:cNvPr>
          <p:cNvCxnSpPr>
            <a:cxnSpLocks/>
          </p:cNvCxnSpPr>
          <p:nvPr/>
        </p:nvCxnSpPr>
        <p:spPr>
          <a:xfrm>
            <a:off x="7778338" y="4520204"/>
            <a:ext cx="1847399" cy="0"/>
          </a:xfrm>
          <a:prstGeom prst="straightConnector1">
            <a:avLst/>
          </a:prstGeom>
          <a:ln>
            <a:solidFill>
              <a:srgbClr val="12ABD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9CB72476-E933-4A84-A62B-321F6211AD52}"/>
              </a:ext>
            </a:extLst>
          </p:cNvPr>
          <p:cNvSpPr txBox="1"/>
          <p:nvPr/>
        </p:nvSpPr>
        <p:spPr>
          <a:xfrm>
            <a:off x="8085673" y="4366317"/>
            <a:ext cx="1264644" cy="307777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Corbel" panose="020B0503020204020204" pitchFamily="34" charset="0"/>
                <a:ea typeface="Verdana" panose="020B0604030504040204" pitchFamily="34" charset="0"/>
                <a:cs typeface="+mn-cs"/>
              </a:rPr>
              <a:t>UTILISATION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0408567A-8179-47A8-A23D-45FE8963AE55}"/>
              </a:ext>
            </a:extLst>
          </p:cNvPr>
          <p:cNvSpPr txBox="1">
            <a:spLocks/>
          </p:cNvSpPr>
          <p:nvPr/>
        </p:nvSpPr>
        <p:spPr>
          <a:xfrm>
            <a:off x="550200" y="231712"/>
            <a:ext cx="8935706" cy="90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vert="horz" lIns="0" tIns="180000" rIns="0" bIns="0" rtlCol="0" anchor="t">
            <a:noAutofit/>
          </a:bodyPr>
          <a:lstStyle>
            <a:lvl1pPr marL="0" marR="0" indent="0" algn="l" defTabSz="121916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 i="0" u="none" strike="noStrike" cap="none" spc="-40" baseline="0" dirty="0">
                <a:solidFill>
                  <a:srgbClr val="46496A"/>
                </a:solidFill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defRPr>
            </a:lvl1pPr>
            <a:lvl2pPr marL="0" marR="0" indent="228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2pPr>
            <a:lvl3pPr marL="0" marR="0" indent="457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3pPr>
            <a:lvl4pPr marL="0" marR="0" indent="685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4pPr>
            <a:lvl5pPr marL="0" marR="0" indent="9144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5pPr>
            <a:lvl6pPr marL="0" marR="0" indent="11430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6pPr>
            <a:lvl7pPr marL="0" marR="0" indent="1371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7pPr>
            <a:lvl8pPr marL="0" marR="0" indent="1600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8pPr>
            <a:lvl9pPr marL="0" marR="0" indent="1828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-40" normalizeH="0" baseline="0" noProof="0">
                <a:ln>
                  <a:noFill/>
                </a:ln>
                <a:solidFill>
                  <a:srgbClr val="46496A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rPr>
              <a:t>Zoom sur le parcours d’un MaaS</a:t>
            </a:r>
          </a:p>
        </p:txBody>
      </p:sp>
    </p:spTree>
    <p:extLst>
      <p:ext uri="{BB962C8B-B14F-4D97-AF65-F5344CB8AC3E}">
        <p14:creationId xmlns:p14="http://schemas.microsoft.com/office/powerpoint/2010/main" val="41808297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2ADFF0-9F7B-450A-8691-4C7A6EB6E64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Jost Medium"/>
              <a:cs typeface="Arial" panose="020B0604020202020204" pitchFamily="34" charset="0"/>
              <a:sym typeface="Jost Medium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1CF3BA4-E3D5-4D8F-8D23-FF23DF275645}"/>
              </a:ext>
            </a:extLst>
          </p:cNvPr>
          <p:cNvSpPr txBox="1"/>
          <p:nvPr/>
        </p:nvSpPr>
        <p:spPr>
          <a:xfrm>
            <a:off x="838200" y="1266940"/>
            <a:ext cx="4945655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fr-FR" sz="1600">
                <a:latin typeface="Verdana"/>
                <a:ea typeface="Verdana"/>
              </a:rPr>
              <a:t>L'intégration d'un MSP</a:t>
            </a: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Verdana"/>
                <a:ea typeface="Verdana"/>
              </a:rPr>
              <a:t> s’organise autour de différentes grandes étapes :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51AB0D4F-1A0E-4301-8143-F7B296B553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9159025"/>
              </p:ext>
            </p:extLst>
          </p:nvPr>
        </p:nvGraphicFramePr>
        <p:xfrm>
          <a:off x="1805049" y="1786996"/>
          <a:ext cx="8312728" cy="2430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30F1AFB1-353D-4CEA-9882-D0559675AA63}"/>
              </a:ext>
            </a:extLst>
          </p:cNvPr>
          <p:cNvSpPr txBox="1"/>
          <p:nvPr/>
        </p:nvSpPr>
        <p:spPr>
          <a:xfrm>
            <a:off x="1712993" y="2168031"/>
            <a:ext cx="3720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860864"/>
                </a:solidFill>
                <a:effectLst/>
                <a:uLnTx/>
                <a:uFillTx/>
                <a:latin typeface="Corbel" panose="020B0503020204020204" pitchFamily="34" charset="0"/>
                <a:ea typeface="Verdana" panose="020B0604030504040204" pitchFamily="34" charset="0"/>
                <a:cs typeface="+mn-cs"/>
              </a:rPr>
              <a:t>INITIALISATION DU SERVICE MSP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22C2485-A572-4376-9D79-3445E0711CBF}"/>
              </a:ext>
            </a:extLst>
          </p:cNvPr>
          <p:cNvSpPr txBox="1"/>
          <p:nvPr/>
        </p:nvSpPr>
        <p:spPr>
          <a:xfrm>
            <a:off x="1692368" y="4033186"/>
            <a:ext cx="43190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Verdana" panose="020B0604030504040204" pitchFamily="34" charset="0"/>
                <a:cs typeface="+mn-cs"/>
              </a:rPr>
              <a:t>UTILISATION DU SERVICE PAR</a:t>
            </a:r>
            <a:r>
              <a:rPr kumimoji="0" lang="fr-FR" sz="1800" b="1" i="0" u="none" strike="noStrike" kern="1200" cap="none" spc="0" normalizeH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Verdana" panose="020B0604030504040204" pitchFamily="34" charset="0"/>
                <a:cs typeface="+mn-cs"/>
              </a:rPr>
              <a:t> UN MAAS</a:t>
            </a:r>
            <a:endParaRPr kumimoji="0" lang="fr-FR" sz="18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orbel" panose="020B0503020204020204" pitchFamily="34" charset="0"/>
              <a:ea typeface="Verdana" panose="020B0604030504040204" pitchFamily="34" charset="0"/>
              <a:cs typeface="+mn-cs"/>
            </a:endParaRPr>
          </a:p>
        </p:txBody>
      </p:sp>
      <p:graphicFrame>
        <p:nvGraphicFramePr>
          <p:cNvPr id="10" name="Espace réservé du contenu 5">
            <a:extLst>
              <a:ext uri="{FF2B5EF4-FFF2-40B4-BE49-F238E27FC236}">
                <a16:creationId xmlns:a16="http://schemas.microsoft.com/office/drawing/2014/main" id="{36C962FD-5077-43AC-80E6-F17075FC0B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5769693"/>
              </p:ext>
            </p:extLst>
          </p:nvPr>
        </p:nvGraphicFramePr>
        <p:xfrm>
          <a:off x="1805049" y="4461237"/>
          <a:ext cx="8312728" cy="13572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3DA1ADA1-FEBF-487A-A03B-6F9DB04BAB93}"/>
              </a:ext>
            </a:extLst>
          </p:cNvPr>
          <p:cNvCxnSpPr>
            <a:cxnSpLocks/>
          </p:cNvCxnSpPr>
          <p:nvPr/>
        </p:nvCxnSpPr>
        <p:spPr>
          <a:xfrm>
            <a:off x="1805049" y="4520204"/>
            <a:ext cx="5864990" cy="0"/>
          </a:xfrm>
          <a:prstGeom prst="straightConnector1">
            <a:avLst/>
          </a:prstGeom>
          <a:ln>
            <a:solidFill>
              <a:srgbClr val="0F999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>
            <a:extLst>
              <a:ext uri="{FF2B5EF4-FFF2-40B4-BE49-F238E27FC236}">
                <a16:creationId xmlns:a16="http://schemas.microsoft.com/office/drawing/2014/main" id="{0C3924E7-855A-4107-96BC-918B1B781985}"/>
              </a:ext>
            </a:extLst>
          </p:cNvPr>
          <p:cNvSpPr txBox="1"/>
          <p:nvPr/>
        </p:nvSpPr>
        <p:spPr>
          <a:xfrm>
            <a:off x="4112359" y="4371682"/>
            <a:ext cx="1321106" cy="307777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F999C"/>
                </a:solidFill>
                <a:effectLst/>
                <a:uLnTx/>
                <a:uFillTx/>
                <a:latin typeface="Corbel" panose="020B0503020204020204" pitchFamily="34" charset="0"/>
                <a:ea typeface="Verdana" panose="020B0604030504040204" pitchFamily="34" charset="0"/>
                <a:cs typeface="+mn-cs"/>
              </a:rPr>
              <a:t>DECOUVERTE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05D251D7-203C-4C10-8D32-EAFBED08E8FD}"/>
              </a:ext>
            </a:extLst>
          </p:cNvPr>
          <p:cNvCxnSpPr>
            <a:cxnSpLocks/>
          </p:cNvCxnSpPr>
          <p:nvPr/>
        </p:nvCxnSpPr>
        <p:spPr>
          <a:xfrm>
            <a:off x="7778338" y="4520204"/>
            <a:ext cx="1847399" cy="0"/>
          </a:xfrm>
          <a:prstGeom prst="straightConnector1">
            <a:avLst/>
          </a:prstGeom>
          <a:ln>
            <a:solidFill>
              <a:srgbClr val="12ABD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9CB72476-E933-4A84-A62B-321F6211AD52}"/>
              </a:ext>
            </a:extLst>
          </p:cNvPr>
          <p:cNvSpPr txBox="1"/>
          <p:nvPr/>
        </p:nvSpPr>
        <p:spPr>
          <a:xfrm>
            <a:off x="8085673" y="4366317"/>
            <a:ext cx="1264644" cy="307777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Corbel" panose="020B0503020204020204" pitchFamily="34" charset="0"/>
                <a:ea typeface="Verdana" panose="020B0604030504040204" pitchFamily="34" charset="0"/>
                <a:cs typeface="+mn-cs"/>
              </a:rPr>
              <a:t>UTILISATION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0408567A-8179-47A8-A23D-45FE8963AE55}"/>
              </a:ext>
            </a:extLst>
          </p:cNvPr>
          <p:cNvSpPr txBox="1">
            <a:spLocks/>
          </p:cNvSpPr>
          <p:nvPr/>
        </p:nvSpPr>
        <p:spPr>
          <a:xfrm>
            <a:off x="550200" y="231712"/>
            <a:ext cx="8935706" cy="90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lIns="0" tIns="180000" rIns="0" bIns="0" rtlCol="0" anchor="t">
            <a:noAutofit/>
          </a:bodyPr>
          <a:lstStyle>
            <a:lvl1pPr marL="0" marR="0" indent="0" algn="l" defTabSz="121916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 i="0" u="none" strike="noStrike" cap="none" spc="-40" baseline="0" dirty="0">
                <a:solidFill>
                  <a:srgbClr val="46496A"/>
                </a:solidFill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  <a:sym typeface="Futura"/>
              </a:defRPr>
            </a:lvl1pPr>
            <a:lvl2pPr marL="0" marR="0" indent="228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2pPr>
            <a:lvl3pPr marL="0" marR="0" indent="457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3pPr>
            <a:lvl4pPr marL="0" marR="0" indent="685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4pPr>
            <a:lvl5pPr marL="0" marR="0" indent="9144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5pPr>
            <a:lvl6pPr marL="0" marR="0" indent="11430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6pPr>
            <a:lvl7pPr marL="0" marR="0" indent="1371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7pPr>
            <a:lvl8pPr marL="0" marR="0" indent="1600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8pPr>
            <a:lvl9pPr marL="0" marR="0" indent="1828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cap="none" spc="-40" baseline="0">
                <a:solidFill>
                  <a:srgbClr val="46496A"/>
                </a:solidFill>
                <a:uFillTx/>
                <a:latin typeface="+mn-lt"/>
                <a:ea typeface="+mn-ea"/>
                <a:cs typeface="+mn-cs"/>
                <a:sym typeface="Futura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-40" normalizeH="0" baseline="0" noProof="0">
                <a:ln>
                  <a:noFill/>
                </a:ln>
                <a:solidFill>
                  <a:srgbClr val="46496A"/>
                </a:solidFill>
                <a:effectLst/>
                <a:uLnTx/>
                <a:uFillTx/>
                <a:latin typeface="Corbel"/>
                <a:cs typeface="Arial"/>
                <a:sym typeface="Futura"/>
              </a:rPr>
              <a:t>Zoom sur </a:t>
            </a:r>
            <a:r>
              <a:rPr lang="fr-FR" kern="0">
                <a:latin typeface="Corbel"/>
                <a:cs typeface="Arial"/>
              </a:rPr>
              <a:t>l'intégration</a:t>
            </a:r>
            <a:r>
              <a:rPr kumimoji="0" lang="fr-FR" sz="2000" b="1" i="0" u="none" strike="noStrike" kern="0" cap="none" spc="-40" normalizeH="0" baseline="0" noProof="0">
                <a:ln>
                  <a:noFill/>
                </a:ln>
                <a:solidFill>
                  <a:srgbClr val="46496A"/>
                </a:solidFill>
                <a:effectLst/>
                <a:uLnTx/>
                <a:uFillTx/>
                <a:latin typeface="Corbel"/>
                <a:cs typeface="Arial"/>
                <a:sym typeface="Futura"/>
              </a:rPr>
              <a:t> d’un </a:t>
            </a:r>
            <a:r>
              <a:rPr lang="fr-FR" kern="0">
                <a:latin typeface="Corbel"/>
                <a:cs typeface="Arial"/>
              </a:rPr>
              <a:t>MSP</a:t>
            </a:r>
            <a:endParaRPr lang="fr-FR" sz="2000" b="1" i="0" u="none" strike="noStrike" kern="0" cap="none" spc="-40" normalizeH="0" baseline="0" noProof="0">
              <a:ln>
                <a:noFill/>
              </a:ln>
              <a:solidFill>
                <a:srgbClr val="46496A"/>
              </a:solidFill>
              <a:effectLst/>
              <a:uLnTx/>
              <a:uFillTx/>
              <a:latin typeface="Corbel" panose="020B05030202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993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2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Jost SemiBold"/>
        <a:ea typeface="Jost SemiBold"/>
        <a:cs typeface="Jost SemiBold"/>
      </a:majorFont>
      <a:minorFont>
        <a:latin typeface="Futura"/>
        <a:ea typeface="Futura"/>
        <a:cs typeface="Futur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flat">
          <a:solidFill>
            <a:schemeClr val="tx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>
            <a:ln>
              <a:noFill/>
            </a:ln>
            <a:effectLst/>
            <a:uFillTx/>
            <a:latin typeface="Arial" panose="020B0604020202020204" pitchFamily="34" charset="0"/>
            <a:ea typeface="Jost Medium"/>
            <a:cs typeface="Arial" panose="020B0604020202020204" pitchFamily="34" charset="0"/>
            <a:sym typeface="Jost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3_BasicWhite">
  <a:themeElements>
    <a:clrScheme name="Custom 3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C000"/>
      </a:accent4>
      <a:accent5>
        <a:srgbClr val="18C589"/>
      </a:accent5>
      <a:accent6>
        <a:srgbClr val="5866D9"/>
      </a:accent6>
      <a:hlink>
        <a:srgbClr val="0000FF"/>
      </a:hlink>
      <a:folHlink>
        <a:srgbClr val="FF00FF"/>
      </a:folHlink>
    </a:clrScheme>
    <a:fontScheme name="21_BasicWhite">
      <a:majorFont>
        <a:latin typeface="Jost SemiBold"/>
        <a:ea typeface="Jost SemiBold"/>
        <a:cs typeface="Jost SemiBold"/>
      </a:majorFont>
      <a:minorFont>
        <a:latin typeface="Futura"/>
        <a:ea typeface="Futura"/>
        <a:cs typeface="Futur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C87A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900" b="1" i="0" u="none" strike="noStrike" cap="none" spc="0" normalizeH="0" baseline="0" dirty="0" smtClean="0">
            <a:ln>
              <a:noFill/>
            </a:ln>
            <a:solidFill>
              <a:schemeClr val="bg1"/>
            </a:solidFill>
            <a:effectLst/>
            <a:uFillTx/>
            <a:latin typeface="Arial" panose="020B0604020202020204" pitchFamily="34" charset="0"/>
            <a:ea typeface="Jost Medium"/>
            <a:cs typeface="Arial" panose="020B0604020202020204" pitchFamily="34" charset="0"/>
            <a:sym typeface="Jost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cap="none" spc="0" normalizeH="0" baseline="0" dirty="0">
            <a:ln>
              <a:noFill/>
            </a:ln>
            <a:effectLst/>
            <a:uFillTx/>
            <a:latin typeface="Arial" panose="020B0604020202020204" pitchFamily="34" charset="0"/>
            <a:ea typeface="Helvetica Neue"/>
            <a:cs typeface="Arial" panose="020B0604020202020204" pitchFamily="34" charset="0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4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Jost SemiBold"/>
        <a:ea typeface="Jost SemiBold"/>
        <a:cs typeface="Jost SemiBold"/>
      </a:majorFont>
      <a:minorFont>
        <a:latin typeface="Futura"/>
        <a:ea typeface="Futura"/>
        <a:cs typeface="Futur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12700" cap="flat">
          <a:solidFill>
            <a:schemeClr val="tx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>
            <a:ln>
              <a:noFill/>
            </a:ln>
            <a:effectLst/>
            <a:uFillTx/>
            <a:latin typeface="Arial" panose="020B0604020202020204" pitchFamily="34" charset="0"/>
            <a:ea typeface="Jost Medium"/>
            <a:cs typeface="Arial" panose="020B0604020202020204" pitchFamily="34" charset="0"/>
            <a:sym typeface="Jost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7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Jost SemiBold"/>
        <a:ea typeface="Jost SemiBold"/>
        <a:cs typeface="Jost SemiBold"/>
      </a:majorFont>
      <a:minorFont>
        <a:latin typeface="Futura"/>
        <a:ea typeface="Futura"/>
        <a:cs typeface="Futur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>
          <a:solidFill>
            <a:schemeClr val="bg2">
              <a:lumMod val="25000"/>
            </a:schemeClr>
          </a:solidFill>
          <a:prstDash val="sysDot"/>
        </a:ln>
        <a:effectLst>
          <a:outerShdw blurRad="63500" sx="101000" sy="101000" algn="ctr" rotWithShape="0">
            <a:schemeClr val="tx1">
              <a:lumMod val="60000"/>
              <a:lumOff val="40000"/>
              <a:alpha val="20000"/>
            </a:schemeClr>
          </a:outerShdw>
        </a:effectLst>
      </a:spPr>
      <a:bodyPr lIns="36000" tIns="36000" rIns="36000" bIns="36000" rtlCol="0" anchor="ctr" anchorCtr="0"/>
      <a:lstStyle>
        <a:defPPr marL="0" marR="0" indent="0" algn="l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050">
            <a:solidFill>
              <a:schemeClr val="tx1">
                <a:lumMod val="50000"/>
              </a:schemeClr>
            </a:solidFill>
            <a:latin typeface="Corbel" panose="020B0503020204020204" pitchFamily="34" charset="0"/>
            <a:cs typeface="Arial" panose="020B0604020202020204" pitchFamily="34" charset="0"/>
            <a:sym typeface="Helvetica Neu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smtClean="0">
            <a:ln>
              <a:noFill/>
            </a:ln>
            <a:solidFill>
              <a:srgbClr val="5E5E5E"/>
            </a:solidFill>
            <a:effectLst/>
            <a:uFillTx/>
            <a:latin typeface="Corbel" panose="020B0503020204020204" pitchFamily="34" charset="0"/>
            <a:ea typeface="Helvetica Neue"/>
            <a:cs typeface="Helvetica Neue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5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Jost SemiBold"/>
        <a:ea typeface="Jost SemiBold"/>
        <a:cs typeface="Jost SemiBold"/>
      </a:majorFont>
      <a:minorFont>
        <a:latin typeface="Futura"/>
        <a:ea typeface="Futura"/>
        <a:cs typeface="Futur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flat">
          <a:solidFill>
            <a:schemeClr val="tx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>
            <a:ln>
              <a:noFill/>
            </a:ln>
            <a:effectLst/>
            <a:uFillTx/>
            <a:latin typeface="Arial" panose="020B0604020202020204" pitchFamily="34" charset="0"/>
            <a:ea typeface="Jost Medium"/>
            <a:cs typeface="Arial" panose="020B0604020202020204" pitchFamily="34" charset="0"/>
            <a:sym typeface="Jost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Jost SemiBold"/>
        <a:ea typeface="Jost SemiBold"/>
        <a:cs typeface="Jost SemiBold"/>
      </a:majorFont>
      <a:minorFont>
        <a:latin typeface="Futura"/>
        <a:ea typeface="Futura"/>
        <a:cs typeface="Futur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>
          <a:solidFill>
            <a:schemeClr val="bg2">
              <a:lumMod val="25000"/>
            </a:schemeClr>
          </a:solidFill>
          <a:prstDash val="sysDot"/>
        </a:ln>
        <a:effectLst>
          <a:outerShdw blurRad="63500" sx="101000" sy="101000" algn="ctr" rotWithShape="0">
            <a:schemeClr val="tx1">
              <a:lumMod val="60000"/>
              <a:lumOff val="40000"/>
              <a:alpha val="20000"/>
            </a:schemeClr>
          </a:outerShdw>
        </a:effectLst>
      </a:spPr>
      <a:bodyPr lIns="36000" tIns="36000" rIns="36000" bIns="36000" rtlCol="0" anchor="ctr" anchorCtr="0"/>
      <a:lstStyle>
        <a:defPPr marL="0" marR="0" indent="0" algn="l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050">
            <a:solidFill>
              <a:schemeClr val="tx1">
                <a:lumMod val="50000"/>
              </a:schemeClr>
            </a:solidFill>
            <a:latin typeface="Corbel" panose="020B0503020204020204" pitchFamily="34" charset="0"/>
            <a:cs typeface="Arial" panose="020B0604020202020204" pitchFamily="34" charset="0"/>
            <a:sym typeface="Helvetica Neu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smtClean="0">
            <a:ln>
              <a:noFill/>
            </a:ln>
            <a:solidFill>
              <a:srgbClr val="5E5E5E"/>
            </a:solidFill>
            <a:effectLst/>
            <a:uFillTx/>
            <a:latin typeface="Corbel" panose="020B0503020204020204" pitchFamily="34" charset="0"/>
            <a:ea typeface="Helvetica Neue"/>
            <a:cs typeface="Helvetica Neue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137df8f-ecf5-4796-beaa-1aafb1bbf4b5">
      <Terms xmlns="http://schemas.microsoft.com/office/infopath/2007/PartnerControls"/>
    </lcf76f155ced4ddcb4097134ff3c332f>
    <TaxCatchAll xmlns="bc7d0c6d-390f-4ec5-8b2c-f9386076ccc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1AF6FD61A8124191BC92BD1EA14494" ma:contentTypeVersion="15" ma:contentTypeDescription="Crée un document." ma:contentTypeScope="" ma:versionID="06a4f507108ede2215e4509454c3f827">
  <xsd:schema xmlns:xsd="http://www.w3.org/2001/XMLSchema" xmlns:xs="http://www.w3.org/2001/XMLSchema" xmlns:p="http://schemas.microsoft.com/office/2006/metadata/properties" xmlns:ns2="4137df8f-ecf5-4796-beaa-1aafb1bbf4b5" xmlns:ns3="bc7d0c6d-390f-4ec5-8b2c-f9386076ccce" targetNamespace="http://schemas.microsoft.com/office/2006/metadata/properties" ma:root="true" ma:fieldsID="36c344f8b0968dad5e827b4bbd6b9297" ns2:_="" ns3:_="">
    <xsd:import namespace="4137df8f-ecf5-4796-beaa-1aafb1bbf4b5"/>
    <xsd:import namespace="bc7d0c6d-390f-4ec5-8b2c-f9386076cc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37df8f-ecf5-4796-beaa-1aafb1bbf4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alises d’image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7d0c6d-390f-4ec5-8b2c-f9386076ccc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f26c402-fa64-4a05-96c2-b946bda61e52}" ma:internalName="TaxCatchAll" ma:showField="CatchAllData" ma:web="bc7d0c6d-390f-4ec5-8b2c-f9386076cc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2F99AD-1116-4D90-9E0B-79333D4DC87F}">
  <ds:schemaRefs>
    <ds:schemaRef ds:uri="http://purl.org/dc/elements/1.1/"/>
    <ds:schemaRef ds:uri="http://schemas.microsoft.com/office/2006/metadata/properties"/>
    <ds:schemaRef ds:uri="ec298746-e03f-4604-9b9b-162629500122"/>
    <ds:schemaRef ds:uri="http://schemas.microsoft.com/office/infopath/2007/PartnerControls"/>
    <ds:schemaRef ds:uri="http://schemas.microsoft.com/office/2006/documentManagement/types"/>
    <ds:schemaRef ds:uri="http://purl.org/dc/dcmitype/"/>
    <ds:schemaRef ds:uri="d85e1fdf-892f-404f-9948-0d675cca4362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2C9B6CE-EA5F-43B3-A3AF-AB632918FEAE}"/>
</file>

<file path=customXml/itemProps3.xml><?xml version="1.0" encoding="utf-8"?>
<ds:datastoreItem xmlns:ds="http://schemas.openxmlformats.org/officeDocument/2006/customXml" ds:itemID="{12EA72DF-08AC-4173-BAB8-0A2047F9724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</TotalTime>
  <Words>3949</Words>
  <Application>Microsoft Office PowerPoint</Application>
  <PresentationFormat>Grand écran</PresentationFormat>
  <Paragraphs>1034</Paragraphs>
  <Slides>24</Slides>
  <Notes>14</Notes>
  <HiddenSlides>2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7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45" baseType="lpstr">
      <vt:lpstr>Aharoni</vt:lpstr>
      <vt:lpstr>Arial</vt:lpstr>
      <vt:lpstr>Calibri</vt:lpstr>
      <vt:lpstr>Calibri Light</vt:lpstr>
      <vt:lpstr>Corbel</vt:lpstr>
      <vt:lpstr>Futura</vt:lpstr>
      <vt:lpstr>Helvetica Neue</vt:lpstr>
      <vt:lpstr>Jost Medium</vt:lpstr>
      <vt:lpstr>Jost SemiBold</vt:lpstr>
      <vt:lpstr>Poppins</vt:lpstr>
      <vt:lpstr>Segoe UI</vt:lpstr>
      <vt:lpstr>Verdana</vt:lpstr>
      <vt:lpstr>Wingdings</vt:lpstr>
      <vt:lpstr>22_BasicWhite</vt:lpstr>
      <vt:lpstr>Thème Office</vt:lpstr>
      <vt:lpstr>23_BasicWhite</vt:lpstr>
      <vt:lpstr>24_BasicWhite</vt:lpstr>
      <vt:lpstr>27_BasicWhite</vt:lpstr>
      <vt:lpstr>25_BasicWhite</vt:lpstr>
      <vt:lpstr>21_BasicWhite</vt:lpstr>
      <vt:lpstr>think-cell Slide</vt:lpstr>
      <vt:lpstr>Les travaux sur le programme MOB ont été étendus pour prendre en compte les enjeux de standardisation des MaaS</vt:lpstr>
      <vt:lpstr>La standardisation permettra de relier plusieurs MSP à un ou plusieurs MaaS via des interfaces standards ainsi que de faciliter l’intégration des MSP et de MOB / CMS dans les MaaS</vt:lpstr>
      <vt:lpstr>La standardisation des MaaS sera concrétisée dans le cadre de notre projet par la mise en place d’un Hub, qui préfigure la mise en place de standards, et d’API standardisées</vt:lpstr>
      <vt:lpstr>Les fonctionnalités du HUB ont été définies et priorisées selon les besoins de l’écosystème et les enjeux spécifiques des partenaires pressentis pour l’expérimentation</vt:lpstr>
      <vt:lpstr>Présentation PowerPoint</vt:lpstr>
      <vt:lpstr>La standardisation va s’appuyer sur les orientations issues du GT MaaS en réunissant AOM, éditeurs de MaaS et MSP, avec des niveaux de maturité différents selon les types de mobilité</vt:lpstr>
      <vt:lpstr>Zoom sur le HUB : Opportunité de capitaliser sur la Gateway MaaX en cas d’intégration d’IDFM au périmètre pilote</vt:lpstr>
      <vt:lpstr>Présentation PowerPoint</vt:lpstr>
      <vt:lpstr>Présentation PowerPoint</vt:lpstr>
      <vt:lpstr>Présentation PowerPoint</vt:lpstr>
      <vt:lpstr>Présentation PowerPoint</vt:lpstr>
      <vt:lpstr>Architecture générale détaillée</vt:lpstr>
      <vt:lpstr>Scénario territorial </vt:lpstr>
      <vt:lpstr>Une conception du HUB permettant d’associer plusieurs solutions MaaS à plusieurs MSP de façon globale sur une plateforme partagée</vt:lpstr>
      <vt:lpstr>Architecture applicative et services Gateway </vt:lpstr>
      <vt:lpstr>Architecture de l’API Management </vt:lpstr>
      <vt:lpstr>Flux entrants API Gateway</vt:lpstr>
      <vt:lpstr>Flux entrants API Gateway</vt:lpstr>
      <vt:lpstr>Présentation PowerPoint</vt:lpstr>
      <vt:lpstr>Architecture applicative et microservices Gateway </vt:lpstr>
      <vt:lpstr>Architecture applicative et microservices  internes Gateway </vt:lpstr>
      <vt:lpstr>Architecture applicative et microservices  des flux sortants Gateway 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ffard Arnaud</dc:creator>
  <cp:lastModifiedBy>GIFFARD, Arnaud</cp:lastModifiedBy>
  <cp:revision>1</cp:revision>
  <dcterms:created xsi:type="dcterms:W3CDTF">2021-02-03T11:25:54Z</dcterms:created>
  <dcterms:modified xsi:type="dcterms:W3CDTF">2022-11-02T14:2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E66B50F4850B439BAA08563F2995C2</vt:lpwstr>
  </property>
  <property fmtid="{D5CDD505-2E9C-101B-9397-08002B2CF9AE}" pid="3" name="xd_Signature">
    <vt:lpwstr/>
  </property>
  <property fmtid="{D5CDD505-2E9C-101B-9397-08002B2CF9AE}" pid="4" name="xd_ProgID">
    <vt:lpwstr/>
  </property>
  <property fmtid="{D5CDD505-2E9C-101B-9397-08002B2CF9AE}" pid="5" name="TemplateUrl">
    <vt:lpwstr/>
  </property>
  <property fmtid="{D5CDD505-2E9C-101B-9397-08002B2CF9AE}" pid="6" name="ComplianceAsset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MediaServiceImageTags">
    <vt:lpwstr/>
  </property>
</Properties>
</file>